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4983" r:id="rId5"/>
    <p:sldMasterId id="2147484975" r:id="rId6"/>
    <p:sldMasterId id="2147484980" r:id="rId7"/>
  </p:sldMasterIdLst>
  <p:notesMasterIdLst>
    <p:notesMasterId r:id="rId16"/>
  </p:notesMasterIdLst>
  <p:handoutMasterIdLst>
    <p:handoutMasterId r:id="rId17"/>
  </p:handoutMasterIdLst>
  <p:sldIdLst>
    <p:sldId id="2050095147" r:id="rId8"/>
    <p:sldId id="3950" r:id="rId9"/>
    <p:sldId id="3237" r:id="rId10"/>
    <p:sldId id="3957" r:id="rId11"/>
    <p:sldId id="2050095148" r:id="rId12"/>
    <p:sldId id="292" r:id="rId13"/>
    <p:sldId id="2050095146" r:id="rId14"/>
    <p:sldId id="299" r:id="rId15"/>
  </p:sldIdLst>
  <p:sldSz cx="12195175" cy="6859588"/>
  <p:notesSz cx="6797675" cy="9926638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60972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121944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82916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2438888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3048610" algn="l" defTabSz="121944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3658332" algn="l" defTabSz="121944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4268053" algn="l" defTabSz="121944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4877775" algn="l" defTabSz="1219444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99">
          <p15:clr>
            <a:srgbClr val="A4A3A4"/>
          </p15:clr>
        </p15:guide>
        <p15:guide id="2" orient="horz" pos="3930" userDrawn="1">
          <p15:clr>
            <a:srgbClr val="A4A3A4"/>
          </p15:clr>
        </p15:guide>
        <p15:guide id="3" orient="horz" pos="482">
          <p15:clr>
            <a:srgbClr val="A4A3A4"/>
          </p15:clr>
        </p15:guide>
        <p15:guide id="4" orient="horz" pos="255">
          <p15:clr>
            <a:srgbClr val="A4A3A4"/>
          </p15:clr>
        </p15:guide>
        <p15:guide id="5" orient="horz" pos="1026">
          <p15:clr>
            <a:srgbClr val="A4A3A4"/>
          </p15:clr>
        </p15:guide>
        <p15:guide id="6" orient="horz" pos="2160">
          <p15:clr>
            <a:srgbClr val="A4A3A4"/>
          </p15:clr>
        </p15:guide>
        <p15:guide id="7" orient="horz" pos="3476" userDrawn="1">
          <p15:clr>
            <a:srgbClr val="A4A3A4"/>
          </p15:clr>
        </p15:guide>
        <p15:guide id="8" orient="horz" pos="3521">
          <p15:clr>
            <a:srgbClr val="A4A3A4"/>
          </p15:clr>
        </p15:guide>
        <p15:guide id="9" pos="3841">
          <p15:clr>
            <a:srgbClr val="A4A3A4"/>
          </p15:clr>
        </p15:guide>
        <p15:guide id="10" pos="258">
          <p15:clr>
            <a:srgbClr val="A4A3A4"/>
          </p15:clr>
        </p15:guide>
        <p15:guide id="11" pos="7424">
          <p15:clr>
            <a:srgbClr val="A4A3A4"/>
          </p15:clr>
        </p15:guide>
        <p15:guide id="12" pos="6789">
          <p15:clr>
            <a:srgbClr val="A4A3A4"/>
          </p15:clr>
        </p15:guide>
        <p15:guide id="13" orient="horz" pos="4201">
          <p15:clr>
            <a:srgbClr val="A4A3A4"/>
          </p15:clr>
        </p15:guide>
        <p15:guide id="14" orient="horz" pos="1525">
          <p15:clr>
            <a:srgbClr val="A4A3A4"/>
          </p15:clr>
        </p15:guide>
        <p15:guide id="15" pos="7220" userDrawn="1">
          <p15:clr>
            <a:srgbClr val="A4A3A4"/>
          </p15:clr>
        </p15:guide>
        <p15:guide id="16" pos="7152">
          <p15:clr>
            <a:srgbClr val="A4A3A4"/>
          </p15:clr>
        </p15:guide>
        <p15:guide id="17" pos="3047">
          <p15:clr>
            <a:srgbClr val="A4A3A4"/>
          </p15:clr>
        </p15:guide>
        <p15:guide id="18" pos="484">
          <p15:clr>
            <a:srgbClr val="A4A3A4"/>
          </p15:clr>
        </p15:guide>
        <p15:guide id="19" pos="2027">
          <p15:clr>
            <a:srgbClr val="A4A3A4"/>
          </p15:clr>
        </p15:guide>
        <p15:guide id="20" pos="4159">
          <p15:clr>
            <a:srgbClr val="A4A3A4"/>
          </p15:clr>
        </p15:guide>
        <p15:guide id="21" pos="1573">
          <p15:clr>
            <a:srgbClr val="A4A3A4"/>
          </p15:clr>
        </p15:guide>
        <p15:guide id="22" pos="533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hnqvist Anna-Kaisa" initials="EA" lastIdx="2" clrIdx="0"/>
  <p:cmAuthor id="2" name="Amanda Thurman" initials="" lastIdx="2" clrIdx="1"/>
  <p:cmAuthor id="3" name="Charlie Bass" initials="" lastIdx="2" clrIdx="2"/>
  <p:cmAuthor id="4" name="Green Simon" initials="GS" lastIdx="1" clrIdx="3">
    <p:extLst>
      <p:ext uri="{19B8F6BF-5375-455C-9EA6-DF929625EA0E}">
        <p15:presenceInfo xmlns:p15="http://schemas.microsoft.com/office/powerpoint/2012/main" userId="S-1-5-21-3302659136-1882306543-3512536600-58109" providerId="AD"/>
      </p:ext>
    </p:extLst>
  </p:cmAuthor>
  <p:cmAuthor id="5" name="Charlie Bass" initials="CB" lastIdx="9" clrIdx="4">
    <p:extLst>
      <p:ext uri="{19B8F6BF-5375-455C-9EA6-DF929625EA0E}">
        <p15:presenceInfo xmlns:p15="http://schemas.microsoft.com/office/powerpoint/2012/main" userId="S::charlie@tenfour.fi::790cffa7-2daf-4ad9-8d8a-7124584d16ae" providerId="AD"/>
      </p:ext>
    </p:extLst>
  </p:cmAuthor>
  <p:cmAuthor id="6" name="Shamal Deshmukh" initials="SD" lastIdx="1" clrIdx="5">
    <p:extLst>
      <p:ext uri="{19B8F6BF-5375-455C-9EA6-DF929625EA0E}">
        <p15:presenceInfo xmlns:p15="http://schemas.microsoft.com/office/powerpoint/2012/main" userId="S::Shamal.Deshmukh@KONE.com::1871afc9-9540-408d-a6f7-31619254ce7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1B7"/>
    <a:srgbClr val="0071B9"/>
    <a:srgbClr val="007100"/>
    <a:srgbClr val="FEFEFE"/>
    <a:srgbClr val="191400"/>
    <a:srgbClr val="9DCDEB"/>
    <a:srgbClr val="3F3100"/>
    <a:srgbClr val="7E6200"/>
    <a:srgbClr val="BD9300"/>
    <a:srgbClr val="E3B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6741" autoAdjust="0"/>
    <p:restoredTop sz="91759" autoAdjust="0"/>
  </p:normalViewPr>
  <p:slideViewPr>
    <p:cSldViewPr showGuides="1">
      <p:cViewPr varScale="1">
        <p:scale>
          <a:sx n="30" d="100"/>
          <a:sy n="30" d="100"/>
        </p:scale>
        <p:origin x="200" y="2816"/>
      </p:cViewPr>
      <p:guideLst>
        <p:guide orient="horz" pos="799"/>
        <p:guide orient="horz" pos="3930"/>
        <p:guide orient="horz" pos="482"/>
        <p:guide orient="horz" pos="255"/>
        <p:guide orient="horz" pos="1026"/>
        <p:guide orient="horz" pos="2160"/>
        <p:guide orient="horz" pos="3476"/>
        <p:guide orient="horz" pos="3521"/>
        <p:guide pos="3841"/>
        <p:guide pos="258"/>
        <p:guide pos="7424"/>
        <p:guide pos="6789"/>
        <p:guide orient="horz" pos="4201"/>
        <p:guide orient="horz" pos="1525"/>
        <p:guide pos="7220"/>
        <p:guide pos="7152"/>
        <p:guide pos="3047"/>
        <p:guide pos="484"/>
        <p:guide pos="2027"/>
        <p:guide pos="4159"/>
        <p:guide pos="1573"/>
        <p:guide pos="5338"/>
      </p:guideLst>
    </p:cSldViewPr>
  </p:slideViewPr>
  <p:outlineViewPr>
    <p:cViewPr>
      <p:scale>
        <a:sx n="33" d="100"/>
        <a:sy n="33" d="100"/>
      </p:scale>
      <p:origin x="0" y="56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-492"/>
    </p:cViewPr>
  </p:sorterViewPr>
  <p:notesViewPr>
    <p:cSldViewPr showGuides="1">
      <p:cViewPr varScale="1">
        <p:scale>
          <a:sx n="86" d="100"/>
          <a:sy n="86" d="100"/>
        </p:scale>
        <p:origin x="-3810" y="-96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imo Utterström" userId="7535853697634948" providerId="LiveId" clId="{0D184620-8B72-6243-8522-904962CDDE36}"/>
    <pc:docChg chg="delSld">
      <pc:chgData name="Timo Utterström" userId="7535853697634948" providerId="LiveId" clId="{0D184620-8B72-6243-8522-904962CDDE36}" dt="2020-06-11T15:09:02.070" v="5" actId="2696"/>
      <pc:docMkLst>
        <pc:docMk/>
      </pc:docMkLst>
      <pc:sldChg chg="del">
        <pc:chgData name="Timo Utterström" userId="7535853697634948" providerId="LiveId" clId="{0D184620-8B72-6243-8522-904962CDDE36}" dt="2020-06-11T15:08:36.339" v="0" actId="2696"/>
        <pc:sldMkLst>
          <pc:docMk/>
          <pc:sldMk cId="1002851158" sldId="258"/>
        </pc:sldMkLst>
      </pc:sldChg>
      <pc:sldChg chg="del">
        <pc:chgData name="Timo Utterström" userId="7535853697634948" providerId="LiveId" clId="{0D184620-8B72-6243-8522-904962CDDE36}" dt="2020-06-11T15:08:36.389" v="2" actId="2696"/>
        <pc:sldMkLst>
          <pc:docMk/>
          <pc:sldMk cId="957532278" sldId="260"/>
        </pc:sldMkLst>
      </pc:sldChg>
      <pc:sldChg chg="del">
        <pc:chgData name="Timo Utterström" userId="7535853697634948" providerId="LiveId" clId="{0D184620-8B72-6243-8522-904962CDDE36}" dt="2020-06-11T15:08:36.364" v="1" actId="2696"/>
        <pc:sldMkLst>
          <pc:docMk/>
          <pc:sldMk cId="178130397" sldId="2050095157"/>
        </pc:sldMkLst>
      </pc:sldChg>
      <pc:sldChg chg="del">
        <pc:chgData name="Timo Utterström" userId="7535853697634948" providerId="LiveId" clId="{0D184620-8B72-6243-8522-904962CDDE36}" dt="2020-06-11T15:08:36.429" v="3" actId="2696"/>
        <pc:sldMkLst>
          <pc:docMk/>
          <pc:sldMk cId="175410258" sldId="2050095159"/>
        </pc:sldMkLst>
      </pc:sldChg>
      <pc:sldChg chg="del">
        <pc:chgData name="Timo Utterström" userId="7535853697634948" providerId="LiveId" clId="{0D184620-8B72-6243-8522-904962CDDE36}" dt="2020-06-11T15:09:02.070" v="5" actId="2696"/>
        <pc:sldMkLst>
          <pc:docMk/>
          <pc:sldMk cId="3419448238" sldId="2050095167"/>
        </pc:sldMkLst>
      </pc:sldChg>
      <pc:sldMasterChg chg="delSldLayout">
        <pc:chgData name="Timo Utterström" userId="7535853697634948" providerId="LiveId" clId="{0D184620-8B72-6243-8522-904962CDDE36}" dt="2020-06-11T15:08:36.438" v="4" actId="2696"/>
        <pc:sldMasterMkLst>
          <pc:docMk/>
          <pc:sldMasterMk cId="0" sldId="2147484980"/>
        </pc:sldMasterMkLst>
        <pc:sldLayoutChg chg="del">
          <pc:chgData name="Timo Utterström" userId="7535853697634948" providerId="LiveId" clId="{0D184620-8B72-6243-8522-904962CDDE36}" dt="2020-06-11T15:08:36.438" v="4" actId="2696"/>
          <pc:sldLayoutMkLst>
            <pc:docMk/>
            <pc:sldMasterMk cId="0" sldId="2147484980"/>
            <pc:sldLayoutMk cId="458402558" sldId="2147484985"/>
          </pc:sldLayoutMkLst>
        </pc:sldLayoutChg>
      </pc:sldMaster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en-US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338DA283-B615-459D-AC63-5AAF9237110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3722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endParaRPr lang="en-US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043255" y="4715153"/>
            <a:ext cx="4711166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800"/>
            </a:lvl1pPr>
          </a:lstStyle>
          <a:p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59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fld id="{0F9C5879-DFDA-4C10-9CF6-5576FC22A8D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986554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722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444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9166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88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8610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8332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8053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775" algn="l" defTabSz="1219444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92150" y="860425"/>
            <a:ext cx="5473700" cy="3079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4A21CF8-ADC7-4604-AC68-F445DB44B31D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8D919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8D919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63073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 err="1"/>
              <a:t>Lay</a:t>
            </a:r>
            <a:r>
              <a:rPr lang="fi-FI" dirty="0"/>
              <a:t> out </a:t>
            </a:r>
            <a:r>
              <a:rPr lang="fi-FI" dirty="0" err="1"/>
              <a:t>modification</a:t>
            </a:r>
            <a:r>
              <a:rPr lang="fi-FI" dirty="0"/>
              <a:t> </a:t>
            </a:r>
            <a:r>
              <a:rPr lang="fi-FI" dirty="0" err="1"/>
              <a:t>option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EDE3-F440-4157-8E11-8A0D1DCB5DC7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40732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575EDE3-F440-4157-8E11-8A0D1DCB5DC7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40556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asy and efficient</a:t>
            </a:r>
            <a:r>
              <a:rPr lang="en-US" baseline="0" dirty="0"/>
              <a:t> information sharing in elevators and in chosen building premises, such as lobbies, entrances and corridors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A21CF8-ADC7-4604-AC68-F445DB44B31D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02313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7038" y="933450"/>
            <a:ext cx="59436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A21CF8-ADC7-4604-AC68-F445DB44B31D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4754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w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577" y="4221905"/>
            <a:ext cx="10367962" cy="1294658"/>
          </a:xfrm>
        </p:spPr>
        <p:txBody>
          <a:bodyPr anchor="b" anchorCtr="0"/>
          <a:lstStyle>
            <a:lvl1pPr>
              <a:defRPr sz="4000" cap="none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576" y="5589588"/>
            <a:ext cx="10367964" cy="6477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86793BCD-AA5D-4F5A-AE8F-855C4D1FF58F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ef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E36AEB4F-F56F-4B0D-A0EA-09DBAF1F4529}" type="datetime3">
              <a:rPr lang="en-US" smtClean="0"/>
              <a:t>11 June 2020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350" y="0"/>
            <a:ext cx="3600997" cy="6859588"/>
          </a:xfr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6043" tIns="216043" rIns="216043" bIns="45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4250" y="2493664"/>
            <a:ext cx="3169067" cy="395952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700" indent="-26670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750" indent="-27305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806450" indent="-26670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1071563" indent="-26511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1063150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35DC2C2-A461-4C82-A500-B937C402049C}" type="datetime3">
              <a:rPr lang="en-US" smtClean="0"/>
              <a:t>11 June 2020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827" y="0"/>
            <a:ext cx="3614253" cy="6859588"/>
          </a:xfr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6043" tIns="216043" rIns="216043" bIns="45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54983" y="2493664"/>
            <a:ext cx="3169067" cy="395952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None/>
              <a:defRPr sz="1600">
                <a:solidFill>
                  <a:schemeClr val="tx2"/>
                </a:solidFill>
              </a:defRPr>
            </a:lvl1pPr>
            <a:lvl2pPr marL="266700" indent="-266700">
              <a:lnSpc>
                <a:spcPct val="12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750" indent="-273050">
              <a:lnSpc>
                <a:spcPct val="120000"/>
              </a:lnSpc>
              <a:spcBef>
                <a:spcPts val="400"/>
              </a:spcBef>
              <a:defRPr sz="1400">
                <a:solidFill>
                  <a:schemeClr val="tx2"/>
                </a:solidFill>
              </a:defRPr>
            </a:lvl3pPr>
            <a:lvl4pPr marL="806450" indent="-266700">
              <a:lnSpc>
                <a:spcPct val="120000"/>
              </a:lnSpc>
              <a:spcBef>
                <a:spcPts val="400"/>
              </a:spcBef>
              <a:defRPr sz="1200">
                <a:solidFill>
                  <a:schemeClr val="tx2"/>
                </a:solidFill>
              </a:defRPr>
            </a:lvl4pPr>
            <a:lvl5pPr marL="1071563" indent="-265113">
              <a:lnSpc>
                <a:spcPct val="120000"/>
              </a:lnSpc>
              <a:spcBef>
                <a:spcPts val="400"/>
              </a:spcBef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09232093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7DD275E-317E-4A5B-A468-304CEC2F3380}" type="datetime3">
              <a:rPr lang="en-US" smtClean="0"/>
              <a:t>11 June 2020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827" y="0"/>
            <a:ext cx="3614253" cy="6859588"/>
          </a:xfrm>
          <a:solidFill>
            <a:schemeClr val="tx2">
              <a:alpha val="85098"/>
            </a:schemeClr>
          </a:solidFill>
          <a:ln>
            <a:noFill/>
          </a:ln>
          <a:effectLst/>
        </p:spPr>
        <p:txBody>
          <a:bodyPr vert="horz" wrap="square" lIns="216043" tIns="216043" rIns="216043" bIns="45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fi-FI" sz="2400" cap="none" spc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8054983" y="2493664"/>
            <a:ext cx="3169067" cy="395952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None/>
              <a:defRPr sz="1600">
                <a:solidFill>
                  <a:schemeClr val="bg1"/>
                </a:solidFill>
              </a:defRPr>
            </a:lvl1pPr>
            <a:lvl2pPr marL="266700" indent="-26670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buFont typeface="Wingdings" pitchFamily="2" charset="2"/>
              <a:buChar char="§"/>
              <a:defRPr sz="1600">
                <a:solidFill>
                  <a:schemeClr val="bg1"/>
                </a:solidFill>
              </a:defRPr>
            </a:lvl2pPr>
            <a:lvl3pPr marL="539750" indent="-27305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defRPr sz="1400">
                <a:solidFill>
                  <a:schemeClr val="bg1"/>
                </a:solidFill>
              </a:defRPr>
            </a:lvl3pPr>
            <a:lvl4pPr marL="806450" indent="-266700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4pPr>
            <a:lvl5pPr marL="1071563" indent="-265113">
              <a:lnSpc>
                <a:spcPct val="120000"/>
              </a:lnSpc>
              <a:spcBef>
                <a:spcPts val="400"/>
              </a:spcBef>
              <a:buClr>
                <a:schemeClr val="bg1"/>
              </a:buCl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9856754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/ 2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4137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CF41E7F-14F6-474A-84C8-7842CC9BCEF0}" type="datetime3">
              <a:rPr lang="en-US" smtClean="0"/>
              <a:t>11 June 20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l" defTabSz="914309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754893" y="1268414"/>
            <a:ext cx="3241531" cy="3241531"/>
          </a:xfrm>
          <a:prstGeom prst="rect">
            <a:avLst/>
          </a:prstGeom>
          <a:solidFill>
            <a:schemeClr val="bg1">
              <a:alpha val="85000"/>
            </a:schemeClr>
          </a:solidFill>
        </p:spPr>
        <p:txBody>
          <a:bodyPr lIns="251974" tIns="233977" rIns="251974" bIns="233977" anchor="t" anchorCtr="0"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24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7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6401" y="403200"/>
            <a:ext cx="720000" cy="363600"/>
          </a:xfrm>
          <a:prstGeom prst="rect">
            <a:avLst/>
          </a:prstGeom>
          <a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4584025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09576" y="1628775"/>
            <a:ext cx="5040312" cy="45850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37225" y="1629134"/>
            <a:ext cx="5040313" cy="4608154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07D0CF-3E84-4BD6-B0F1-E18F8F239310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143958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09576" y="1628775"/>
            <a:ext cx="5040312" cy="360247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 baseline="0">
                <a:solidFill>
                  <a:schemeClr val="tx2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7225" y="1628775"/>
            <a:ext cx="5040313" cy="360247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 baseline="0">
                <a:solidFill>
                  <a:schemeClr val="tx2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AC08AB-835F-4CE2-8474-14DF15CC6771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3"/>
          </p:nvPr>
        </p:nvSpPr>
        <p:spPr>
          <a:xfrm>
            <a:off x="409576" y="1989594"/>
            <a:ext cx="5040312" cy="42242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5737225" y="1991769"/>
            <a:ext cx="5040313" cy="424551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 hasCustomPrompt="1"/>
          </p:nvPr>
        </p:nvSpPr>
        <p:spPr>
          <a:xfrm>
            <a:off x="409576" y="6274482"/>
            <a:ext cx="283732" cy="107722"/>
          </a:xfrm>
        </p:spPr>
        <p:txBody>
          <a:bodyPr wrap="none" bIns="0" anchor="b" anchorCtr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defRPr sz="700">
                <a:solidFill>
                  <a:schemeClr val="accent5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</p:spTree>
    <p:extLst>
      <p:ext uri="{BB962C8B-B14F-4D97-AF65-F5344CB8AC3E}">
        <p14:creationId xmlns:p14="http://schemas.microsoft.com/office/powerpoint/2010/main" val="3280112923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379ED25A-D186-4610-A5A6-A2DB219C2204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409576" y="1628774"/>
            <a:ext cx="5040312" cy="4585081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3" name="Content Placeholder 3"/>
          <p:cNvSpPr>
            <a:spLocks noGrp="1"/>
          </p:cNvSpPr>
          <p:nvPr>
            <p:ph sz="half" idx="2"/>
          </p:nvPr>
        </p:nvSpPr>
        <p:spPr>
          <a:xfrm>
            <a:off x="5737225" y="1628775"/>
            <a:ext cx="5040313" cy="4608514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50463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51253051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9A0AEC2-E328-4F7D-BC1B-B242A6B672CA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576" y="1628775"/>
            <a:ext cx="5040312" cy="360247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7225" y="1628775"/>
            <a:ext cx="5040313" cy="360247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409576" y="1989594"/>
            <a:ext cx="5040312" cy="422426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2" name="Content Placeholder 3"/>
          <p:cNvSpPr>
            <a:spLocks noGrp="1"/>
          </p:cNvSpPr>
          <p:nvPr>
            <p:ph sz="half" idx="2"/>
          </p:nvPr>
        </p:nvSpPr>
        <p:spPr>
          <a:xfrm>
            <a:off x="5737225" y="1991769"/>
            <a:ext cx="5040313" cy="424551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50463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89330531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X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C61CB5FC-B863-4CF3-955D-AB9B83C8E437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576" y="1628775"/>
            <a:ext cx="5040312" cy="360819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736743" y="1628775"/>
            <a:ext cx="5040716" cy="360819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575" y="5086024"/>
            <a:ext cx="5040313" cy="11512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700" indent="-26670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575" y="1989594"/>
            <a:ext cx="5040313" cy="280839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5737225" y="1989594"/>
            <a:ext cx="5040313" cy="280839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6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5739888" y="5086024"/>
            <a:ext cx="5040313" cy="11512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700" indent="-26670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575" y="4941888"/>
            <a:ext cx="504031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 userDrawn="1"/>
        </p:nvCxnSpPr>
        <p:spPr>
          <a:xfrm>
            <a:off x="5737225" y="4941888"/>
            <a:ext cx="504031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5046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6602888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Date Placeholder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401BF716-3DCC-48F7-BD2A-247EC0324E20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12" name="Footer Placeholder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noProof="0" dirty="0"/>
              <a:t>Confidential  |  © KONE Corporation</a:t>
            </a: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>
          <a:xfrm>
            <a:off x="409576" y="1628775"/>
            <a:ext cx="10367963" cy="360819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 u="none">
                <a:solidFill>
                  <a:schemeClr val="tx2"/>
                </a:solidFill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09575" y="5086024"/>
            <a:ext cx="10367964" cy="1151264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400"/>
              </a:spcBef>
              <a:buFontTx/>
              <a:buNone/>
              <a:defRPr sz="1800"/>
            </a:lvl1pPr>
            <a:lvl2pPr marL="266700" indent="-266700">
              <a:lnSpc>
                <a:spcPct val="100000"/>
              </a:lnSpc>
              <a:spcBef>
                <a:spcPts val="400"/>
              </a:spcBef>
              <a:buFont typeface="Wingdings" pitchFamily="2" charset="2"/>
              <a:buChar char="§"/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/>
            </a:lvl3pPr>
            <a:lvl4pPr>
              <a:lnSpc>
                <a:spcPct val="100000"/>
              </a:lnSpc>
              <a:spcBef>
                <a:spcPts val="400"/>
              </a:spcBef>
              <a:defRPr/>
            </a:lvl4pPr>
            <a:lvl5pPr>
              <a:lnSpc>
                <a:spcPct val="100000"/>
              </a:lnSpc>
              <a:spcBef>
                <a:spcPts val="400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9"/>
          </p:nvPr>
        </p:nvSpPr>
        <p:spPr>
          <a:xfrm>
            <a:off x="409575" y="1989594"/>
            <a:ext cx="10367964" cy="280839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409575" y="4941888"/>
            <a:ext cx="10367963" cy="0"/>
          </a:xfrm>
          <a:prstGeom prst="line">
            <a:avLst/>
          </a:prstGeom>
          <a:ln w="3175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3"/>
            <a:ext cx="10368662" cy="50463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18035611"/>
      </p:ext>
    </p:extLst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04F6A84-CFE1-4BFE-8243-FDFF6A21CD67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6400" y="403200"/>
            <a:ext cx="720000" cy="363600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576" y="4214553"/>
            <a:ext cx="10367962" cy="1302009"/>
          </a:xfrm>
        </p:spPr>
        <p:txBody>
          <a:bodyPr anchor="b" anchorCtr="0"/>
          <a:lstStyle>
            <a:lvl1pPr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575" y="5589588"/>
            <a:ext cx="10367963" cy="647700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34722582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A2080-E1AE-4C08-90B7-F7BEBC9BFDE2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6264092" cy="46085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3717" y="1628774"/>
            <a:ext cx="4751883" cy="460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866866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A77DC6-BE4E-4107-A1A0-7D206B2484A4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Content Placeholder 2"/>
          <p:cNvSpPr>
            <a:spLocks noGrp="1"/>
          </p:cNvSpPr>
          <p:nvPr>
            <p:ph idx="1"/>
          </p:nvPr>
        </p:nvSpPr>
        <p:spPr>
          <a:xfrm>
            <a:off x="3145177" y="1628774"/>
            <a:ext cx="8640423" cy="46085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4" name="Picture Placeholder 5"/>
          <p:cNvSpPr>
            <a:spLocks noGrp="1"/>
          </p:cNvSpPr>
          <p:nvPr>
            <p:ph type="pic" sz="quarter" idx="15"/>
          </p:nvPr>
        </p:nvSpPr>
        <p:spPr>
          <a:xfrm>
            <a:off x="409575" y="1628774"/>
            <a:ext cx="2374900" cy="460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7486392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4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0221BB-334C-4C34-8FC9-0A01E8CC8947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8640422" cy="46085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5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9410700" y="1628774"/>
            <a:ext cx="2374900" cy="460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939454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Half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7031369" y="0"/>
            <a:ext cx="5160961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575" y="404813"/>
            <a:ext cx="6264093" cy="8636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6264092" cy="46085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DDBF0104-C855-4D77-876E-E2C008FBFD66}" type="datetime3">
              <a:rPr lang="en-US" smtClean="0"/>
              <a:t>11 June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352198" y="6454214"/>
            <a:ext cx="4321470" cy="144021"/>
          </a:xfrm>
        </p:spPr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9104981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with 1/3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 title="for lifts only"/>
          <p:cNvSpPr>
            <a:spLocks noGrp="1"/>
          </p:cNvSpPr>
          <p:nvPr>
            <p:ph type="pic" sz="quarter" idx="13"/>
          </p:nvPr>
        </p:nvSpPr>
        <p:spPr>
          <a:xfrm>
            <a:off x="8329614" y="0"/>
            <a:ext cx="3865561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409576" y="404813"/>
            <a:ext cx="7560272" cy="8636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7560271" cy="46085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81568223-EB42-4C05-8C95-659C8FBE325A}" type="datetime3">
              <a:rPr lang="en-US" smtClean="0"/>
              <a:t>11 June 20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2352198" y="6454214"/>
            <a:ext cx="5617650" cy="144021"/>
          </a:xfrm>
        </p:spPr>
        <p:txBody>
          <a:bodyPr/>
          <a:lstStyle/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44946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without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C2AA9-6A13-49B8-8096-691599089479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35595177"/>
      </p:ext>
    </p:extLst>
  </p:cSld>
  <p:clrMapOvr>
    <a:masterClrMapping/>
  </p:clrMapOvr>
  <p:transition spd="med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2B245-2248-4C7C-8F81-F1B0B3415A21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7307690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574" y="2636318"/>
            <a:ext cx="11376026" cy="1728240"/>
          </a:xfrm>
        </p:spPr>
        <p:txBody>
          <a:bodyPr anchor="ctr" anchorCtr="0"/>
          <a:lstStyle>
            <a:lvl1pPr algn="ctr"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6A21EC-F998-481E-B27B-9EC4521D5D16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166623"/>
      </p:ext>
    </p:extLst>
  </p:cSld>
  <p:clrMapOvr>
    <a:masterClrMapping/>
  </p:clrMapOvr>
  <p:transition spd="med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og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575" y="2636318"/>
            <a:ext cx="11376025" cy="1728240"/>
          </a:xfrm>
        </p:spPr>
        <p:txBody>
          <a:bodyPr anchor="ctr" anchorCtr="0"/>
          <a:lstStyle>
            <a:lvl1pPr algn="ctr"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43438E7-4EA7-41F6-8CA5-433469519F4B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738992"/>
      </p:ext>
    </p:extLst>
  </p:cSld>
  <p:clrMapOvr>
    <a:masterClrMapping/>
  </p:clrMapOvr>
  <p:transition spd="med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(picture)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574" y="2636318"/>
            <a:ext cx="11376026" cy="1728240"/>
          </a:xfrm>
        </p:spPr>
        <p:txBody>
          <a:bodyPr anchor="ctr" anchorCtr="0"/>
          <a:lstStyle>
            <a:lvl1pPr algn="ctr">
              <a:defRPr sz="4000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B7A342CE-77CF-4DEA-BFAA-F1542DB1E76F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039546"/>
      </p:ext>
    </p:extLst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5D043B-E3EA-455A-97A5-1945D51B06F5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37857401"/>
      </p:ext>
    </p:extLst>
  </p:cSld>
  <p:clrMapOvr>
    <a:masterClrMapping/>
  </p:clrMapOvr>
  <p:transition spd="med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1E6ED8-3535-4D85-B2C7-02AF1090A746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639104413"/>
      </p:ext>
    </p:extLst>
  </p:cSld>
  <p:clrMapOvr>
    <a:masterClrMapping/>
  </p:clrMapOvr>
  <p:transition spd="med"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27782904-2640-4BF9-B5E8-298961F02BA4}" type="datetime3">
              <a:rPr lang="en-US" smtClean="0"/>
              <a:t>11 June 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oup 9"/>
          <p:cNvGrpSpPr>
            <a:grpSpLocks noChangeAspect="1"/>
          </p:cNvGrpSpPr>
          <p:nvPr userDrawn="1"/>
        </p:nvGrpSpPr>
        <p:grpSpPr>
          <a:xfrm>
            <a:off x="3497262" y="2997994"/>
            <a:ext cx="5197475" cy="719137"/>
            <a:chOff x="3216275" y="1773238"/>
            <a:chExt cx="5197475" cy="719137"/>
          </a:xfrm>
        </p:grpSpPr>
        <p:sp>
          <p:nvSpPr>
            <p:cNvPr id="15" name="Freeform 6"/>
            <p:cNvSpPr>
              <a:spLocks noEditPoints="1"/>
            </p:cNvSpPr>
            <p:nvPr userDrawn="1"/>
          </p:nvSpPr>
          <p:spPr bwMode="auto">
            <a:xfrm>
              <a:off x="3216275" y="2025650"/>
              <a:ext cx="3502025" cy="315912"/>
            </a:xfrm>
            <a:custGeom>
              <a:avLst/>
              <a:gdLst>
                <a:gd name="T0" fmla="*/ 8470 w 8823"/>
                <a:gd name="T1" fmla="*/ 193 h 795"/>
                <a:gd name="T2" fmla="*/ 8033 w 8823"/>
                <a:gd name="T3" fmla="*/ 193 h 795"/>
                <a:gd name="T4" fmla="*/ 7865 w 8823"/>
                <a:gd name="T5" fmla="*/ 536 h 795"/>
                <a:gd name="T6" fmla="*/ 7695 w 8823"/>
                <a:gd name="T7" fmla="*/ 390 h 795"/>
                <a:gd name="T8" fmla="*/ 7951 w 8823"/>
                <a:gd name="T9" fmla="*/ 485 h 795"/>
                <a:gd name="T10" fmla="*/ 7628 w 8823"/>
                <a:gd name="T11" fmla="*/ 307 h 795"/>
                <a:gd name="T12" fmla="*/ 7508 w 8823"/>
                <a:gd name="T13" fmla="*/ 10 h 795"/>
                <a:gd name="T14" fmla="*/ 7135 w 8823"/>
                <a:gd name="T15" fmla="*/ 610 h 795"/>
                <a:gd name="T16" fmla="*/ 6577 w 8823"/>
                <a:gd name="T17" fmla="*/ 234 h 795"/>
                <a:gd name="T18" fmla="*/ 6692 w 8823"/>
                <a:gd name="T19" fmla="*/ 528 h 795"/>
                <a:gd name="T20" fmla="*/ 6486 w 8823"/>
                <a:gd name="T21" fmla="*/ 586 h 795"/>
                <a:gd name="T22" fmla="*/ 6717 w 8823"/>
                <a:gd name="T23" fmla="*/ 200 h 795"/>
                <a:gd name="T24" fmla="*/ 6267 w 8823"/>
                <a:gd name="T25" fmla="*/ 23 h 795"/>
                <a:gd name="T26" fmla="*/ 5944 w 8823"/>
                <a:gd name="T27" fmla="*/ 253 h 795"/>
                <a:gd name="T28" fmla="*/ 5908 w 8823"/>
                <a:gd name="T29" fmla="*/ 193 h 795"/>
                <a:gd name="T30" fmla="*/ 6136 w 8823"/>
                <a:gd name="T31" fmla="*/ 547 h 795"/>
                <a:gd name="T32" fmla="*/ 5636 w 8823"/>
                <a:gd name="T33" fmla="*/ 543 h 795"/>
                <a:gd name="T34" fmla="*/ 5473 w 8823"/>
                <a:gd name="T35" fmla="*/ 347 h 795"/>
                <a:gd name="T36" fmla="*/ 5730 w 8823"/>
                <a:gd name="T37" fmla="*/ 460 h 795"/>
                <a:gd name="T38" fmla="*/ 5402 w 8823"/>
                <a:gd name="T39" fmla="*/ 332 h 795"/>
                <a:gd name="T40" fmla="*/ 5122 w 8823"/>
                <a:gd name="T41" fmla="*/ 234 h 795"/>
                <a:gd name="T42" fmla="*/ 5236 w 8823"/>
                <a:gd name="T43" fmla="*/ 528 h 795"/>
                <a:gd name="T44" fmla="*/ 5031 w 8823"/>
                <a:gd name="T45" fmla="*/ 586 h 795"/>
                <a:gd name="T46" fmla="*/ 5262 w 8823"/>
                <a:gd name="T47" fmla="*/ 200 h 795"/>
                <a:gd name="T48" fmla="*/ 4830 w 8823"/>
                <a:gd name="T49" fmla="*/ 290 h 795"/>
                <a:gd name="T50" fmla="*/ 4894 w 8823"/>
                <a:gd name="T51" fmla="*/ 101 h 795"/>
                <a:gd name="T52" fmla="*/ 4649 w 8823"/>
                <a:gd name="T53" fmla="*/ 610 h 795"/>
                <a:gd name="T54" fmla="*/ 4163 w 8823"/>
                <a:gd name="T55" fmla="*/ 244 h 795"/>
                <a:gd name="T56" fmla="*/ 4153 w 8823"/>
                <a:gd name="T57" fmla="*/ 175 h 795"/>
                <a:gd name="T58" fmla="*/ 4106 w 8823"/>
                <a:gd name="T59" fmla="*/ 619 h 795"/>
                <a:gd name="T60" fmla="*/ 3678 w 8823"/>
                <a:gd name="T61" fmla="*/ 250 h 795"/>
                <a:gd name="T62" fmla="*/ 3753 w 8823"/>
                <a:gd name="T63" fmla="*/ 250 h 795"/>
                <a:gd name="T64" fmla="*/ 3681 w 8823"/>
                <a:gd name="T65" fmla="*/ 542 h 795"/>
                <a:gd name="T66" fmla="*/ 3118 w 8823"/>
                <a:gd name="T67" fmla="*/ 526 h 795"/>
                <a:gd name="T68" fmla="*/ 3355 w 8823"/>
                <a:gd name="T69" fmla="*/ 612 h 795"/>
                <a:gd name="T70" fmla="*/ 3030 w 8823"/>
                <a:gd name="T71" fmla="*/ 393 h 795"/>
                <a:gd name="T72" fmla="*/ 2857 w 8823"/>
                <a:gd name="T73" fmla="*/ 271 h 795"/>
                <a:gd name="T74" fmla="*/ 2740 w 8823"/>
                <a:gd name="T75" fmla="*/ 553 h 795"/>
                <a:gd name="T76" fmla="*/ 2858 w 8823"/>
                <a:gd name="T77" fmla="*/ 611 h 795"/>
                <a:gd name="T78" fmla="*/ 2707 w 8823"/>
                <a:gd name="T79" fmla="*/ 182 h 795"/>
                <a:gd name="T80" fmla="*/ 2316 w 8823"/>
                <a:gd name="T81" fmla="*/ 250 h 795"/>
                <a:gd name="T82" fmla="*/ 2431 w 8823"/>
                <a:gd name="T83" fmla="*/ 512 h 795"/>
                <a:gd name="T84" fmla="*/ 2358 w 8823"/>
                <a:gd name="T85" fmla="*/ 526 h 795"/>
                <a:gd name="T86" fmla="*/ 2127 w 8823"/>
                <a:gd name="T87" fmla="*/ 529 h 795"/>
                <a:gd name="T88" fmla="*/ 1904 w 8823"/>
                <a:gd name="T89" fmla="*/ 464 h 795"/>
                <a:gd name="T90" fmla="*/ 2006 w 8823"/>
                <a:gd name="T91" fmla="*/ 252 h 795"/>
                <a:gd name="T92" fmla="*/ 2176 w 8823"/>
                <a:gd name="T93" fmla="*/ 190 h 795"/>
                <a:gd name="T94" fmla="*/ 1624 w 8823"/>
                <a:gd name="T95" fmla="*/ 552 h 795"/>
                <a:gd name="T96" fmla="*/ 1745 w 8823"/>
                <a:gd name="T97" fmla="*/ 611 h 795"/>
                <a:gd name="T98" fmla="*/ 1594 w 8823"/>
                <a:gd name="T99" fmla="*/ 182 h 795"/>
                <a:gd name="T100" fmla="*/ 1746 w 8823"/>
                <a:gd name="T101" fmla="*/ 260 h 795"/>
                <a:gd name="T102" fmla="*/ 1394 w 8823"/>
                <a:gd name="T103" fmla="*/ 606 h 795"/>
                <a:gd name="T104" fmla="*/ 1101 w 8823"/>
                <a:gd name="T105" fmla="*/ 267 h 795"/>
                <a:gd name="T106" fmla="*/ 1022 w 8823"/>
                <a:gd name="T107" fmla="*/ 558 h 795"/>
                <a:gd name="T108" fmla="*/ 1124 w 8823"/>
                <a:gd name="T109" fmla="*/ 600 h 795"/>
                <a:gd name="T110" fmla="*/ 883 w 8823"/>
                <a:gd name="T111" fmla="*/ 245 h 795"/>
                <a:gd name="T112" fmla="*/ 651 w 8823"/>
                <a:gd name="T113" fmla="*/ 238 h 795"/>
                <a:gd name="T114" fmla="*/ 672 w 8823"/>
                <a:gd name="T115" fmla="*/ 552 h 795"/>
                <a:gd name="T116" fmla="*/ 533 w 8823"/>
                <a:gd name="T117" fmla="*/ 610 h 795"/>
                <a:gd name="T118" fmla="*/ 680 w 8823"/>
                <a:gd name="T119" fmla="*/ 179 h 795"/>
                <a:gd name="T120" fmla="*/ 262 w 8823"/>
                <a:gd name="T121" fmla="*/ 504 h 795"/>
                <a:gd name="T122" fmla="*/ 1 w 8823"/>
                <a:gd name="T123" fmla="*/ 45 h 795"/>
                <a:gd name="T124" fmla="*/ 324 w 8823"/>
                <a:gd name="T125" fmla="*/ 542 h 7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23" h="795">
                  <a:moveTo>
                    <a:pt x="8715" y="42"/>
                  </a:moveTo>
                  <a:lnTo>
                    <a:pt x="8715" y="163"/>
                  </a:lnTo>
                  <a:lnTo>
                    <a:pt x="8699" y="167"/>
                  </a:lnTo>
                  <a:lnTo>
                    <a:pt x="8697" y="4"/>
                  </a:lnTo>
                  <a:lnTo>
                    <a:pt x="8715" y="0"/>
                  </a:lnTo>
                  <a:lnTo>
                    <a:pt x="8760" y="92"/>
                  </a:lnTo>
                  <a:lnTo>
                    <a:pt x="8797" y="4"/>
                  </a:lnTo>
                  <a:lnTo>
                    <a:pt x="8817" y="0"/>
                  </a:lnTo>
                  <a:lnTo>
                    <a:pt x="8823" y="163"/>
                  </a:lnTo>
                  <a:lnTo>
                    <a:pt x="8805" y="167"/>
                  </a:lnTo>
                  <a:lnTo>
                    <a:pt x="8799" y="42"/>
                  </a:lnTo>
                  <a:lnTo>
                    <a:pt x="8769" y="114"/>
                  </a:lnTo>
                  <a:lnTo>
                    <a:pt x="8750" y="117"/>
                  </a:lnTo>
                  <a:lnTo>
                    <a:pt x="8715" y="42"/>
                  </a:lnTo>
                  <a:close/>
                  <a:moveTo>
                    <a:pt x="8670" y="0"/>
                  </a:moveTo>
                  <a:lnTo>
                    <a:pt x="8674" y="17"/>
                  </a:lnTo>
                  <a:lnTo>
                    <a:pt x="8636" y="19"/>
                  </a:lnTo>
                  <a:lnTo>
                    <a:pt x="8636" y="163"/>
                  </a:lnTo>
                  <a:lnTo>
                    <a:pt x="8618" y="167"/>
                  </a:lnTo>
                  <a:lnTo>
                    <a:pt x="8614" y="19"/>
                  </a:lnTo>
                  <a:lnTo>
                    <a:pt x="8579" y="19"/>
                  </a:lnTo>
                  <a:lnTo>
                    <a:pt x="8577" y="3"/>
                  </a:lnTo>
                  <a:lnTo>
                    <a:pt x="8670" y="0"/>
                  </a:lnTo>
                  <a:close/>
                  <a:moveTo>
                    <a:pt x="8422" y="508"/>
                  </a:moveTo>
                  <a:lnTo>
                    <a:pt x="8470" y="193"/>
                  </a:lnTo>
                  <a:lnTo>
                    <a:pt x="8474" y="182"/>
                  </a:lnTo>
                  <a:lnTo>
                    <a:pt x="8477" y="180"/>
                  </a:lnTo>
                  <a:lnTo>
                    <a:pt x="8481" y="180"/>
                  </a:lnTo>
                  <a:lnTo>
                    <a:pt x="8530" y="180"/>
                  </a:lnTo>
                  <a:lnTo>
                    <a:pt x="8538" y="182"/>
                  </a:lnTo>
                  <a:lnTo>
                    <a:pt x="8539" y="186"/>
                  </a:lnTo>
                  <a:lnTo>
                    <a:pt x="8539" y="193"/>
                  </a:lnTo>
                  <a:lnTo>
                    <a:pt x="8474" y="600"/>
                  </a:lnTo>
                  <a:lnTo>
                    <a:pt x="8472" y="606"/>
                  </a:lnTo>
                  <a:lnTo>
                    <a:pt x="8470" y="610"/>
                  </a:lnTo>
                  <a:lnTo>
                    <a:pt x="8467" y="612"/>
                  </a:lnTo>
                  <a:lnTo>
                    <a:pt x="8463" y="612"/>
                  </a:lnTo>
                  <a:lnTo>
                    <a:pt x="8392" y="612"/>
                  </a:lnTo>
                  <a:lnTo>
                    <a:pt x="8384" y="610"/>
                  </a:lnTo>
                  <a:lnTo>
                    <a:pt x="8379" y="600"/>
                  </a:lnTo>
                  <a:lnTo>
                    <a:pt x="8285" y="290"/>
                  </a:lnTo>
                  <a:lnTo>
                    <a:pt x="8196" y="600"/>
                  </a:lnTo>
                  <a:lnTo>
                    <a:pt x="8193" y="606"/>
                  </a:lnTo>
                  <a:lnTo>
                    <a:pt x="8189" y="610"/>
                  </a:lnTo>
                  <a:lnTo>
                    <a:pt x="8183" y="612"/>
                  </a:lnTo>
                  <a:lnTo>
                    <a:pt x="8178" y="612"/>
                  </a:lnTo>
                  <a:lnTo>
                    <a:pt x="8119" y="612"/>
                  </a:lnTo>
                  <a:lnTo>
                    <a:pt x="8112" y="610"/>
                  </a:lnTo>
                  <a:lnTo>
                    <a:pt x="8108" y="600"/>
                  </a:lnTo>
                  <a:lnTo>
                    <a:pt x="8033" y="193"/>
                  </a:lnTo>
                  <a:lnTo>
                    <a:pt x="8033" y="186"/>
                  </a:lnTo>
                  <a:lnTo>
                    <a:pt x="8035" y="182"/>
                  </a:lnTo>
                  <a:lnTo>
                    <a:pt x="8038" y="180"/>
                  </a:lnTo>
                  <a:lnTo>
                    <a:pt x="8043" y="180"/>
                  </a:lnTo>
                  <a:lnTo>
                    <a:pt x="8097" y="180"/>
                  </a:lnTo>
                  <a:lnTo>
                    <a:pt x="8106" y="182"/>
                  </a:lnTo>
                  <a:lnTo>
                    <a:pt x="8108" y="186"/>
                  </a:lnTo>
                  <a:lnTo>
                    <a:pt x="8109" y="193"/>
                  </a:lnTo>
                  <a:lnTo>
                    <a:pt x="8165" y="511"/>
                  </a:lnTo>
                  <a:lnTo>
                    <a:pt x="8249" y="209"/>
                  </a:lnTo>
                  <a:lnTo>
                    <a:pt x="8252" y="203"/>
                  </a:lnTo>
                  <a:lnTo>
                    <a:pt x="8256" y="199"/>
                  </a:lnTo>
                  <a:lnTo>
                    <a:pt x="8261" y="197"/>
                  </a:lnTo>
                  <a:lnTo>
                    <a:pt x="8267" y="197"/>
                  </a:lnTo>
                  <a:lnTo>
                    <a:pt x="8316" y="197"/>
                  </a:lnTo>
                  <a:lnTo>
                    <a:pt x="8326" y="199"/>
                  </a:lnTo>
                  <a:lnTo>
                    <a:pt x="8330" y="203"/>
                  </a:lnTo>
                  <a:lnTo>
                    <a:pt x="8333" y="209"/>
                  </a:lnTo>
                  <a:lnTo>
                    <a:pt x="8422" y="508"/>
                  </a:lnTo>
                  <a:close/>
                  <a:moveTo>
                    <a:pt x="7796" y="558"/>
                  </a:moveTo>
                  <a:lnTo>
                    <a:pt x="7823" y="557"/>
                  </a:lnTo>
                  <a:lnTo>
                    <a:pt x="7843" y="552"/>
                  </a:lnTo>
                  <a:lnTo>
                    <a:pt x="7852" y="548"/>
                  </a:lnTo>
                  <a:lnTo>
                    <a:pt x="7859" y="543"/>
                  </a:lnTo>
                  <a:lnTo>
                    <a:pt x="7865" y="536"/>
                  </a:lnTo>
                  <a:lnTo>
                    <a:pt x="7870" y="528"/>
                  </a:lnTo>
                  <a:lnTo>
                    <a:pt x="7877" y="507"/>
                  </a:lnTo>
                  <a:lnTo>
                    <a:pt x="7881" y="480"/>
                  </a:lnTo>
                  <a:lnTo>
                    <a:pt x="7883" y="445"/>
                  </a:lnTo>
                  <a:lnTo>
                    <a:pt x="7884" y="401"/>
                  </a:lnTo>
                  <a:lnTo>
                    <a:pt x="7883" y="354"/>
                  </a:lnTo>
                  <a:lnTo>
                    <a:pt x="7881" y="316"/>
                  </a:lnTo>
                  <a:lnTo>
                    <a:pt x="7876" y="287"/>
                  </a:lnTo>
                  <a:lnTo>
                    <a:pt x="7867" y="265"/>
                  </a:lnTo>
                  <a:lnTo>
                    <a:pt x="7862" y="256"/>
                  </a:lnTo>
                  <a:lnTo>
                    <a:pt x="7856" y="249"/>
                  </a:lnTo>
                  <a:lnTo>
                    <a:pt x="7847" y="244"/>
                  </a:lnTo>
                  <a:lnTo>
                    <a:pt x="7838" y="240"/>
                  </a:lnTo>
                  <a:lnTo>
                    <a:pt x="7814" y="234"/>
                  </a:lnTo>
                  <a:lnTo>
                    <a:pt x="7783" y="233"/>
                  </a:lnTo>
                  <a:lnTo>
                    <a:pt x="7757" y="234"/>
                  </a:lnTo>
                  <a:lnTo>
                    <a:pt x="7736" y="240"/>
                  </a:lnTo>
                  <a:lnTo>
                    <a:pt x="7728" y="244"/>
                  </a:lnTo>
                  <a:lnTo>
                    <a:pt x="7720" y="249"/>
                  </a:lnTo>
                  <a:lnTo>
                    <a:pt x="7714" y="256"/>
                  </a:lnTo>
                  <a:lnTo>
                    <a:pt x="7710" y="264"/>
                  </a:lnTo>
                  <a:lnTo>
                    <a:pt x="7703" y="285"/>
                  </a:lnTo>
                  <a:lnTo>
                    <a:pt x="7698" y="312"/>
                  </a:lnTo>
                  <a:lnTo>
                    <a:pt x="7696" y="347"/>
                  </a:lnTo>
                  <a:lnTo>
                    <a:pt x="7695" y="390"/>
                  </a:lnTo>
                  <a:lnTo>
                    <a:pt x="7696" y="438"/>
                  </a:lnTo>
                  <a:lnTo>
                    <a:pt x="7698" y="476"/>
                  </a:lnTo>
                  <a:lnTo>
                    <a:pt x="7704" y="505"/>
                  </a:lnTo>
                  <a:lnTo>
                    <a:pt x="7712" y="527"/>
                  </a:lnTo>
                  <a:lnTo>
                    <a:pt x="7717" y="535"/>
                  </a:lnTo>
                  <a:lnTo>
                    <a:pt x="7725" y="543"/>
                  </a:lnTo>
                  <a:lnTo>
                    <a:pt x="7733" y="548"/>
                  </a:lnTo>
                  <a:lnTo>
                    <a:pt x="7742" y="552"/>
                  </a:lnTo>
                  <a:lnTo>
                    <a:pt x="7766" y="557"/>
                  </a:lnTo>
                  <a:lnTo>
                    <a:pt x="7796" y="558"/>
                  </a:lnTo>
                  <a:close/>
                  <a:moveTo>
                    <a:pt x="7790" y="173"/>
                  </a:moveTo>
                  <a:lnTo>
                    <a:pt x="7836" y="175"/>
                  </a:lnTo>
                  <a:lnTo>
                    <a:pt x="7873" y="182"/>
                  </a:lnTo>
                  <a:lnTo>
                    <a:pt x="7888" y="188"/>
                  </a:lnTo>
                  <a:lnTo>
                    <a:pt x="7902" y="197"/>
                  </a:lnTo>
                  <a:lnTo>
                    <a:pt x="7914" y="206"/>
                  </a:lnTo>
                  <a:lnTo>
                    <a:pt x="7924" y="218"/>
                  </a:lnTo>
                  <a:lnTo>
                    <a:pt x="7932" y="231"/>
                  </a:lnTo>
                  <a:lnTo>
                    <a:pt x="7939" y="248"/>
                  </a:lnTo>
                  <a:lnTo>
                    <a:pt x="7945" y="266"/>
                  </a:lnTo>
                  <a:lnTo>
                    <a:pt x="7949" y="288"/>
                  </a:lnTo>
                  <a:lnTo>
                    <a:pt x="7954" y="337"/>
                  </a:lnTo>
                  <a:lnTo>
                    <a:pt x="7956" y="399"/>
                  </a:lnTo>
                  <a:lnTo>
                    <a:pt x="7953" y="460"/>
                  </a:lnTo>
                  <a:lnTo>
                    <a:pt x="7951" y="485"/>
                  </a:lnTo>
                  <a:lnTo>
                    <a:pt x="7947" y="508"/>
                  </a:lnTo>
                  <a:lnTo>
                    <a:pt x="7942" y="529"/>
                  </a:lnTo>
                  <a:lnTo>
                    <a:pt x="7936" y="547"/>
                  </a:lnTo>
                  <a:lnTo>
                    <a:pt x="7928" y="563"/>
                  </a:lnTo>
                  <a:lnTo>
                    <a:pt x="7919" y="575"/>
                  </a:lnTo>
                  <a:lnTo>
                    <a:pt x="7908" y="587"/>
                  </a:lnTo>
                  <a:lnTo>
                    <a:pt x="7896" y="596"/>
                  </a:lnTo>
                  <a:lnTo>
                    <a:pt x="7883" y="605"/>
                  </a:lnTo>
                  <a:lnTo>
                    <a:pt x="7867" y="610"/>
                  </a:lnTo>
                  <a:lnTo>
                    <a:pt x="7851" y="614"/>
                  </a:lnTo>
                  <a:lnTo>
                    <a:pt x="7833" y="617"/>
                  </a:lnTo>
                  <a:lnTo>
                    <a:pt x="7790" y="619"/>
                  </a:lnTo>
                  <a:lnTo>
                    <a:pt x="7743" y="617"/>
                  </a:lnTo>
                  <a:lnTo>
                    <a:pt x="7707" y="610"/>
                  </a:lnTo>
                  <a:lnTo>
                    <a:pt x="7691" y="604"/>
                  </a:lnTo>
                  <a:lnTo>
                    <a:pt x="7677" y="595"/>
                  </a:lnTo>
                  <a:lnTo>
                    <a:pt x="7666" y="586"/>
                  </a:lnTo>
                  <a:lnTo>
                    <a:pt x="7656" y="574"/>
                  </a:lnTo>
                  <a:lnTo>
                    <a:pt x="7647" y="561"/>
                  </a:lnTo>
                  <a:lnTo>
                    <a:pt x="7641" y="544"/>
                  </a:lnTo>
                  <a:lnTo>
                    <a:pt x="7630" y="505"/>
                  </a:lnTo>
                  <a:lnTo>
                    <a:pt x="7625" y="455"/>
                  </a:lnTo>
                  <a:lnTo>
                    <a:pt x="7624" y="393"/>
                  </a:lnTo>
                  <a:lnTo>
                    <a:pt x="7626" y="332"/>
                  </a:lnTo>
                  <a:lnTo>
                    <a:pt x="7628" y="307"/>
                  </a:lnTo>
                  <a:lnTo>
                    <a:pt x="7632" y="284"/>
                  </a:lnTo>
                  <a:lnTo>
                    <a:pt x="7637" y="263"/>
                  </a:lnTo>
                  <a:lnTo>
                    <a:pt x="7644" y="245"/>
                  </a:lnTo>
                  <a:lnTo>
                    <a:pt x="7652" y="229"/>
                  </a:lnTo>
                  <a:lnTo>
                    <a:pt x="7661" y="216"/>
                  </a:lnTo>
                  <a:lnTo>
                    <a:pt x="7671" y="205"/>
                  </a:lnTo>
                  <a:lnTo>
                    <a:pt x="7684" y="196"/>
                  </a:lnTo>
                  <a:lnTo>
                    <a:pt x="7697" y="188"/>
                  </a:lnTo>
                  <a:lnTo>
                    <a:pt x="7712" y="182"/>
                  </a:lnTo>
                  <a:lnTo>
                    <a:pt x="7748" y="175"/>
                  </a:lnTo>
                  <a:lnTo>
                    <a:pt x="7790" y="173"/>
                  </a:lnTo>
                  <a:close/>
                  <a:moveTo>
                    <a:pt x="7521" y="600"/>
                  </a:moveTo>
                  <a:lnTo>
                    <a:pt x="7520" y="606"/>
                  </a:lnTo>
                  <a:lnTo>
                    <a:pt x="7518" y="610"/>
                  </a:lnTo>
                  <a:lnTo>
                    <a:pt x="7514" y="612"/>
                  </a:lnTo>
                  <a:lnTo>
                    <a:pt x="7509" y="612"/>
                  </a:lnTo>
                  <a:lnTo>
                    <a:pt x="7458" y="612"/>
                  </a:lnTo>
                  <a:lnTo>
                    <a:pt x="7450" y="610"/>
                  </a:lnTo>
                  <a:lnTo>
                    <a:pt x="7447" y="606"/>
                  </a:lnTo>
                  <a:lnTo>
                    <a:pt x="7446" y="600"/>
                  </a:lnTo>
                  <a:lnTo>
                    <a:pt x="7446" y="23"/>
                  </a:lnTo>
                  <a:lnTo>
                    <a:pt x="7450" y="12"/>
                  </a:lnTo>
                  <a:lnTo>
                    <a:pt x="7453" y="11"/>
                  </a:lnTo>
                  <a:lnTo>
                    <a:pt x="7458" y="10"/>
                  </a:lnTo>
                  <a:lnTo>
                    <a:pt x="7508" y="10"/>
                  </a:lnTo>
                  <a:lnTo>
                    <a:pt x="7513" y="11"/>
                  </a:lnTo>
                  <a:lnTo>
                    <a:pt x="7517" y="12"/>
                  </a:lnTo>
                  <a:lnTo>
                    <a:pt x="7520" y="16"/>
                  </a:lnTo>
                  <a:lnTo>
                    <a:pt x="7521" y="23"/>
                  </a:lnTo>
                  <a:lnTo>
                    <a:pt x="7521" y="600"/>
                  </a:lnTo>
                  <a:close/>
                  <a:moveTo>
                    <a:pt x="7375" y="38"/>
                  </a:moveTo>
                  <a:lnTo>
                    <a:pt x="7379" y="38"/>
                  </a:lnTo>
                  <a:lnTo>
                    <a:pt x="7382" y="40"/>
                  </a:lnTo>
                  <a:lnTo>
                    <a:pt x="7384" y="48"/>
                  </a:lnTo>
                  <a:lnTo>
                    <a:pt x="7384" y="96"/>
                  </a:lnTo>
                  <a:lnTo>
                    <a:pt x="7382" y="102"/>
                  </a:lnTo>
                  <a:lnTo>
                    <a:pt x="7375" y="104"/>
                  </a:lnTo>
                  <a:lnTo>
                    <a:pt x="7138" y="104"/>
                  </a:lnTo>
                  <a:lnTo>
                    <a:pt x="7138" y="319"/>
                  </a:lnTo>
                  <a:lnTo>
                    <a:pt x="7323" y="319"/>
                  </a:lnTo>
                  <a:lnTo>
                    <a:pt x="7327" y="319"/>
                  </a:lnTo>
                  <a:lnTo>
                    <a:pt x="7330" y="321"/>
                  </a:lnTo>
                  <a:lnTo>
                    <a:pt x="7332" y="329"/>
                  </a:lnTo>
                  <a:lnTo>
                    <a:pt x="7332" y="377"/>
                  </a:lnTo>
                  <a:lnTo>
                    <a:pt x="7330" y="384"/>
                  </a:lnTo>
                  <a:lnTo>
                    <a:pt x="7323" y="385"/>
                  </a:lnTo>
                  <a:lnTo>
                    <a:pt x="7138" y="385"/>
                  </a:lnTo>
                  <a:lnTo>
                    <a:pt x="7138" y="600"/>
                  </a:lnTo>
                  <a:lnTo>
                    <a:pt x="7137" y="606"/>
                  </a:lnTo>
                  <a:lnTo>
                    <a:pt x="7135" y="610"/>
                  </a:lnTo>
                  <a:lnTo>
                    <a:pt x="7130" y="612"/>
                  </a:lnTo>
                  <a:lnTo>
                    <a:pt x="7126" y="612"/>
                  </a:lnTo>
                  <a:lnTo>
                    <a:pt x="7075" y="612"/>
                  </a:lnTo>
                  <a:lnTo>
                    <a:pt x="7065" y="610"/>
                  </a:lnTo>
                  <a:lnTo>
                    <a:pt x="7063" y="606"/>
                  </a:lnTo>
                  <a:lnTo>
                    <a:pt x="7062" y="600"/>
                  </a:lnTo>
                  <a:lnTo>
                    <a:pt x="7062" y="51"/>
                  </a:lnTo>
                  <a:lnTo>
                    <a:pt x="7063" y="45"/>
                  </a:lnTo>
                  <a:lnTo>
                    <a:pt x="7065" y="40"/>
                  </a:lnTo>
                  <a:lnTo>
                    <a:pt x="7070" y="38"/>
                  </a:lnTo>
                  <a:lnTo>
                    <a:pt x="7075" y="38"/>
                  </a:lnTo>
                  <a:lnTo>
                    <a:pt x="7375" y="38"/>
                  </a:lnTo>
                  <a:close/>
                  <a:moveTo>
                    <a:pt x="6515" y="347"/>
                  </a:moveTo>
                  <a:lnTo>
                    <a:pt x="6694" y="347"/>
                  </a:lnTo>
                  <a:lnTo>
                    <a:pt x="6692" y="316"/>
                  </a:lnTo>
                  <a:lnTo>
                    <a:pt x="6689" y="291"/>
                  </a:lnTo>
                  <a:lnTo>
                    <a:pt x="6682" y="271"/>
                  </a:lnTo>
                  <a:lnTo>
                    <a:pt x="6677" y="263"/>
                  </a:lnTo>
                  <a:lnTo>
                    <a:pt x="6673" y="255"/>
                  </a:lnTo>
                  <a:lnTo>
                    <a:pt x="6667" y="250"/>
                  </a:lnTo>
                  <a:lnTo>
                    <a:pt x="6660" y="245"/>
                  </a:lnTo>
                  <a:lnTo>
                    <a:pt x="6643" y="238"/>
                  </a:lnTo>
                  <a:lnTo>
                    <a:pt x="6623" y="234"/>
                  </a:lnTo>
                  <a:lnTo>
                    <a:pt x="6600" y="233"/>
                  </a:lnTo>
                  <a:lnTo>
                    <a:pt x="6577" y="234"/>
                  </a:lnTo>
                  <a:lnTo>
                    <a:pt x="6559" y="239"/>
                  </a:lnTo>
                  <a:lnTo>
                    <a:pt x="6545" y="245"/>
                  </a:lnTo>
                  <a:lnTo>
                    <a:pt x="6534" y="256"/>
                  </a:lnTo>
                  <a:lnTo>
                    <a:pt x="6526" y="271"/>
                  </a:lnTo>
                  <a:lnTo>
                    <a:pt x="6521" y="291"/>
                  </a:lnTo>
                  <a:lnTo>
                    <a:pt x="6516" y="316"/>
                  </a:lnTo>
                  <a:lnTo>
                    <a:pt x="6515" y="347"/>
                  </a:lnTo>
                  <a:close/>
                  <a:moveTo>
                    <a:pt x="6515" y="412"/>
                  </a:moveTo>
                  <a:lnTo>
                    <a:pt x="6516" y="453"/>
                  </a:lnTo>
                  <a:lnTo>
                    <a:pt x="6517" y="470"/>
                  </a:lnTo>
                  <a:lnTo>
                    <a:pt x="6520" y="486"/>
                  </a:lnTo>
                  <a:lnTo>
                    <a:pt x="6525" y="511"/>
                  </a:lnTo>
                  <a:lnTo>
                    <a:pt x="6533" y="531"/>
                  </a:lnTo>
                  <a:lnTo>
                    <a:pt x="6540" y="539"/>
                  </a:lnTo>
                  <a:lnTo>
                    <a:pt x="6546" y="545"/>
                  </a:lnTo>
                  <a:lnTo>
                    <a:pt x="6554" y="549"/>
                  </a:lnTo>
                  <a:lnTo>
                    <a:pt x="6564" y="553"/>
                  </a:lnTo>
                  <a:lnTo>
                    <a:pt x="6587" y="557"/>
                  </a:lnTo>
                  <a:lnTo>
                    <a:pt x="6616" y="558"/>
                  </a:lnTo>
                  <a:lnTo>
                    <a:pt x="6635" y="558"/>
                  </a:lnTo>
                  <a:lnTo>
                    <a:pt x="6652" y="556"/>
                  </a:lnTo>
                  <a:lnTo>
                    <a:pt x="6664" y="552"/>
                  </a:lnTo>
                  <a:lnTo>
                    <a:pt x="6676" y="546"/>
                  </a:lnTo>
                  <a:lnTo>
                    <a:pt x="6684" y="539"/>
                  </a:lnTo>
                  <a:lnTo>
                    <a:pt x="6692" y="528"/>
                  </a:lnTo>
                  <a:lnTo>
                    <a:pt x="6702" y="500"/>
                  </a:lnTo>
                  <a:lnTo>
                    <a:pt x="6705" y="493"/>
                  </a:lnTo>
                  <a:lnTo>
                    <a:pt x="6709" y="489"/>
                  </a:lnTo>
                  <a:lnTo>
                    <a:pt x="6714" y="488"/>
                  </a:lnTo>
                  <a:lnTo>
                    <a:pt x="6719" y="488"/>
                  </a:lnTo>
                  <a:lnTo>
                    <a:pt x="6758" y="495"/>
                  </a:lnTo>
                  <a:lnTo>
                    <a:pt x="6764" y="496"/>
                  </a:lnTo>
                  <a:lnTo>
                    <a:pt x="6768" y="500"/>
                  </a:lnTo>
                  <a:lnTo>
                    <a:pt x="6770" y="505"/>
                  </a:lnTo>
                  <a:lnTo>
                    <a:pt x="6770" y="511"/>
                  </a:lnTo>
                  <a:lnTo>
                    <a:pt x="6764" y="533"/>
                  </a:lnTo>
                  <a:lnTo>
                    <a:pt x="6756" y="553"/>
                  </a:lnTo>
                  <a:lnTo>
                    <a:pt x="6744" y="571"/>
                  </a:lnTo>
                  <a:lnTo>
                    <a:pt x="6737" y="579"/>
                  </a:lnTo>
                  <a:lnTo>
                    <a:pt x="6729" y="588"/>
                  </a:lnTo>
                  <a:lnTo>
                    <a:pt x="6709" y="600"/>
                  </a:lnTo>
                  <a:lnTo>
                    <a:pt x="6683" y="611"/>
                  </a:lnTo>
                  <a:lnTo>
                    <a:pt x="6668" y="615"/>
                  </a:lnTo>
                  <a:lnTo>
                    <a:pt x="6650" y="617"/>
                  </a:lnTo>
                  <a:lnTo>
                    <a:pt x="6610" y="619"/>
                  </a:lnTo>
                  <a:lnTo>
                    <a:pt x="6564" y="617"/>
                  </a:lnTo>
                  <a:lnTo>
                    <a:pt x="6527" y="610"/>
                  </a:lnTo>
                  <a:lnTo>
                    <a:pt x="6511" y="604"/>
                  </a:lnTo>
                  <a:lnTo>
                    <a:pt x="6498" y="595"/>
                  </a:lnTo>
                  <a:lnTo>
                    <a:pt x="6486" y="586"/>
                  </a:lnTo>
                  <a:lnTo>
                    <a:pt x="6475" y="574"/>
                  </a:lnTo>
                  <a:lnTo>
                    <a:pt x="6467" y="561"/>
                  </a:lnTo>
                  <a:lnTo>
                    <a:pt x="6460" y="544"/>
                  </a:lnTo>
                  <a:lnTo>
                    <a:pt x="6450" y="505"/>
                  </a:lnTo>
                  <a:lnTo>
                    <a:pt x="6445" y="455"/>
                  </a:lnTo>
                  <a:lnTo>
                    <a:pt x="6443" y="393"/>
                  </a:lnTo>
                  <a:lnTo>
                    <a:pt x="6445" y="332"/>
                  </a:lnTo>
                  <a:lnTo>
                    <a:pt x="6448" y="307"/>
                  </a:lnTo>
                  <a:lnTo>
                    <a:pt x="6452" y="284"/>
                  </a:lnTo>
                  <a:lnTo>
                    <a:pt x="6457" y="263"/>
                  </a:lnTo>
                  <a:lnTo>
                    <a:pt x="6464" y="245"/>
                  </a:lnTo>
                  <a:lnTo>
                    <a:pt x="6471" y="229"/>
                  </a:lnTo>
                  <a:lnTo>
                    <a:pt x="6481" y="216"/>
                  </a:lnTo>
                  <a:lnTo>
                    <a:pt x="6491" y="205"/>
                  </a:lnTo>
                  <a:lnTo>
                    <a:pt x="6504" y="196"/>
                  </a:lnTo>
                  <a:lnTo>
                    <a:pt x="6516" y="188"/>
                  </a:lnTo>
                  <a:lnTo>
                    <a:pt x="6532" y="182"/>
                  </a:lnTo>
                  <a:lnTo>
                    <a:pt x="6568" y="175"/>
                  </a:lnTo>
                  <a:lnTo>
                    <a:pt x="6610" y="173"/>
                  </a:lnTo>
                  <a:lnTo>
                    <a:pt x="6633" y="174"/>
                  </a:lnTo>
                  <a:lnTo>
                    <a:pt x="6654" y="176"/>
                  </a:lnTo>
                  <a:lnTo>
                    <a:pt x="6673" y="179"/>
                  </a:lnTo>
                  <a:lnTo>
                    <a:pt x="6690" y="184"/>
                  </a:lnTo>
                  <a:lnTo>
                    <a:pt x="6704" y="191"/>
                  </a:lnTo>
                  <a:lnTo>
                    <a:pt x="6717" y="200"/>
                  </a:lnTo>
                  <a:lnTo>
                    <a:pt x="6728" y="209"/>
                  </a:lnTo>
                  <a:lnTo>
                    <a:pt x="6738" y="221"/>
                  </a:lnTo>
                  <a:lnTo>
                    <a:pt x="6745" y="233"/>
                  </a:lnTo>
                  <a:lnTo>
                    <a:pt x="6752" y="248"/>
                  </a:lnTo>
                  <a:lnTo>
                    <a:pt x="6757" y="264"/>
                  </a:lnTo>
                  <a:lnTo>
                    <a:pt x="6761" y="281"/>
                  </a:lnTo>
                  <a:lnTo>
                    <a:pt x="6763" y="301"/>
                  </a:lnTo>
                  <a:lnTo>
                    <a:pt x="6765" y="320"/>
                  </a:lnTo>
                  <a:lnTo>
                    <a:pt x="6766" y="367"/>
                  </a:lnTo>
                  <a:lnTo>
                    <a:pt x="6766" y="396"/>
                  </a:lnTo>
                  <a:lnTo>
                    <a:pt x="6765" y="403"/>
                  </a:lnTo>
                  <a:lnTo>
                    <a:pt x="6763" y="407"/>
                  </a:lnTo>
                  <a:lnTo>
                    <a:pt x="6758" y="411"/>
                  </a:lnTo>
                  <a:lnTo>
                    <a:pt x="6750" y="412"/>
                  </a:lnTo>
                  <a:lnTo>
                    <a:pt x="6515" y="412"/>
                  </a:lnTo>
                  <a:close/>
                  <a:moveTo>
                    <a:pt x="6340" y="600"/>
                  </a:moveTo>
                  <a:lnTo>
                    <a:pt x="6340" y="606"/>
                  </a:lnTo>
                  <a:lnTo>
                    <a:pt x="6337" y="610"/>
                  </a:lnTo>
                  <a:lnTo>
                    <a:pt x="6334" y="612"/>
                  </a:lnTo>
                  <a:lnTo>
                    <a:pt x="6329" y="612"/>
                  </a:lnTo>
                  <a:lnTo>
                    <a:pt x="6277" y="612"/>
                  </a:lnTo>
                  <a:lnTo>
                    <a:pt x="6269" y="610"/>
                  </a:lnTo>
                  <a:lnTo>
                    <a:pt x="6267" y="606"/>
                  </a:lnTo>
                  <a:lnTo>
                    <a:pt x="6267" y="600"/>
                  </a:lnTo>
                  <a:lnTo>
                    <a:pt x="6267" y="23"/>
                  </a:lnTo>
                  <a:lnTo>
                    <a:pt x="6269" y="12"/>
                  </a:lnTo>
                  <a:lnTo>
                    <a:pt x="6272" y="11"/>
                  </a:lnTo>
                  <a:lnTo>
                    <a:pt x="6277" y="10"/>
                  </a:lnTo>
                  <a:lnTo>
                    <a:pt x="6329" y="10"/>
                  </a:lnTo>
                  <a:lnTo>
                    <a:pt x="6333" y="11"/>
                  </a:lnTo>
                  <a:lnTo>
                    <a:pt x="6337" y="12"/>
                  </a:lnTo>
                  <a:lnTo>
                    <a:pt x="6339" y="16"/>
                  </a:lnTo>
                  <a:lnTo>
                    <a:pt x="6340" y="23"/>
                  </a:lnTo>
                  <a:lnTo>
                    <a:pt x="6340" y="600"/>
                  </a:lnTo>
                  <a:close/>
                  <a:moveTo>
                    <a:pt x="6090" y="401"/>
                  </a:moveTo>
                  <a:lnTo>
                    <a:pt x="6089" y="354"/>
                  </a:lnTo>
                  <a:lnTo>
                    <a:pt x="6086" y="316"/>
                  </a:lnTo>
                  <a:lnTo>
                    <a:pt x="6081" y="287"/>
                  </a:lnTo>
                  <a:lnTo>
                    <a:pt x="6072" y="265"/>
                  </a:lnTo>
                  <a:lnTo>
                    <a:pt x="6067" y="256"/>
                  </a:lnTo>
                  <a:lnTo>
                    <a:pt x="6061" y="249"/>
                  </a:lnTo>
                  <a:lnTo>
                    <a:pt x="6055" y="244"/>
                  </a:lnTo>
                  <a:lnTo>
                    <a:pt x="6046" y="240"/>
                  </a:lnTo>
                  <a:lnTo>
                    <a:pt x="6028" y="234"/>
                  </a:lnTo>
                  <a:lnTo>
                    <a:pt x="6006" y="233"/>
                  </a:lnTo>
                  <a:lnTo>
                    <a:pt x="5977" y="235"/>
                  </a:lnTo>
                  <a:lnTo>
                    <a:pt x="5964" y="240"/>
                  </a:lnTo>
                  <a:lnTo>
                    <a:pt x="5959" y="242"/>
                  </a:lnTo>
                  <a:lnTo>
                    <a:pt x="5954" y="245"/>
                  </a:lnTo>
                  <a:lnTo>
                    <a:pt x="5944" y="253"/>
                  </a:lnTo>
                  <a:lnTo>
                    <a:pt x="5933" y="265"/>
                  </a:lnTo>
                  <a:lnTo>
                    <a:pt x="5908" y="297"/>
                  </a:lnTo>
                  <a:lnTo>
                    <a:pt x="5908" y="544"/>
                  </a:lnTo>
                  <a:lnTo>
                    <a:pt x="5931" y="551"/>
                  </a:lnTo>
                  <a:lnTo>
                    <a:pt x="5951" y="555"/>
                  </a:lnTo>
                  <a:lnTo>
                    <a:pt x="5972" y="558"/>
                  </a:lnTo>
                  <a:lnTo>
                    <a:pt x="5994" y="558"/>
                  </a:lnTo>
                  <a:lnTo>
                    <a:pt x="6021" y="557"/>
                  </a:lnTo>
                  <a:lnTo>
                    <a:pt x="6042" y="552"/>
                  </a:lnTo>
                  <a:lnTo>
                    <a:pt x="6051" y="548"/>
                  </a:lnTo>
                  <a:lnTo>
                    <a:pt x="6059" y="543"/>
                  </a:lnTo>
                  <a:lnTo>
                    <a:pt x="6066" y="536"/>
                  </a:lnTo>
                  <a:lnTo>
                    <a:pt x="6071" y="528"/>
                  </a:lnTo>
                  <a:lnTo>
                    <a:pt x="6081" y="507"/>
                  </a:lnTo>
                  <a:lnTo>
                    <a:pt x="6086" y="480"/>
                  </a:lnTo>
                  <a:lnTo>
                    <a:pt x="6089" y="445"/>
                  </a:lnTo>
                  <a:lnTo>
                    <a:pt x="6090" y="401"/>
                  </a:lnTo>
                  <a:close/>
                  <a:moveTo>
                    <a:pt x="5834" y="193"/>
                  </a:moveTo>
                  <a:lnTo>
                    <a:pt x="5836" y="182"/>
                  </a:lnTo>
                  <a:lnTo>
                    <a:pt x="5840" y="180"/>
                  </a:lnTo>
                  <a:lnTo>
                    <a:pt x="5846" y="180"/>
                  </a:lnTo>
                  <a:lnTo>
                    <a:pt x="5896" y="180"/>
                  </a:lnTo>
                  <a:lnTo>
                    <a:pt x="5904" y="182"/>
                  </a:lnTo>
                  <a:lnTo>
                    <a:pt x="5908" y="186"/>
                  </a:lnTo>
                  <a:lnTo>
                    <a:pt x="5908" y="193"/>
                  </a:lnTo>
                  <a:lnTo>
                    <a:pt x="5908" y="231"/>
                  </a:lnTo>
                  <a:lnTo>
                    <a:pt x="5933" y="203"/>
                  </a:lnTo>
                  <a:lnTo>
                    <a:pt x="5944" y="193"/>
                  </a:lnTo>
                  <a:lnTo>
                    <a:pt x="5957" y="184"/>
                  </a:lnTo>
                  <a:lnTo>
                    <a:pt x="5972" y="179"/>
                  </a:lnTo>
                  <a:lnTo>
                    <a:pt x="5986" y="175"/>
                  </a:lnTo>
                  <a:lnTo>
                    <a:pt x="6003" y="173"/>
                  </a:lnTo>
                  <a:lnTo>
                    <a:pt x="6022" y="172"/>
                  </a:lnTo>
                  <a:lnTo>
                    <a:pt x="6058" y="174"/>
                  </a:lnTo>
                  <a:lnTo>
                    <a:pt x="6087" y="181"/>
                  </a:lnTo>
                  <a:lnTo>
                    <a:pt x="6100" y="187"/>
                  </a:lnTo>
                  <a:lnTo>
                    <a:pt x="6111" y="196"/>
                  </a:lnTo>
                  <a:lnTo>
                    <a:pt x="6122" y="205"/>
                  </a:lnTo>
                  <a:lnTo>
                    <a:pt x="6130" y="217"/>
                  </a:lnTo>
                  <a:lnTo>
                    <a:pt x="6139" y="230"/>
                  </a:lnTo>
                  <a:lnTo>
                    <a:pt x="6145" y="247"/>
                  </a:lnTo>
                  <a:lnTo>
                    <a:pt x="6150" y="266"/>
                  </a:lnTo>
                  <a:lnTo>
                    <a:pt x="6154" y="287"/>
                  </a:lnTo>
                  <a:lnTo>
                    <a:pt x="6161" y="337"/>
                  </a:lnTo>
                  <a:lnTo>
                    <a:pt x="6163" y="399"/>
                  </a:lnTo>
                  <a:lnTo>
                    <a:pt x="6162" y="432"/>
                  </a:lnTo>
                  <a:lnTo>
                    <a:pt x="6160" y="460"/>
                  </a:lnTo>
                  <a:lnTo>
                    <a:pt x="6151" y="508"/>
                  </a:lnTo>
                  <a:lnTo>
                    <a:pt x="6144" y="528"/>
                  </a:lnTo>
                  <a:lnTo>
                    <a:pt x="6136" y="547"/>
                  </a:lnTo>
                  <a:lnTo>
                    <a:pt x="6127" y="562"/>
                  </a:lnTo>
                  <a:lnTo>
                    <a:pt x="6116" y="575"/>
                  </a:lnTo>
                  <a:lnTo>
                    <a:pt x="6104" y="587"/>
                  </a:lnTo>
                  <a:lnTo>
                    <a:pt x="6090" y="596"/>
                  </a:lnTo>
                  <a:lnTo>
                    <a:pt x="6076" y="604"/>
                  </a:lnTo>
                  <a:lnTo>
                    <a:pt x="6059" y="609"/>
                  </a:lnTo>
                  <a:lnTo>
                    <a:pt x="6021" y="616"/>
                  </a:lnTo>
                  <a:lnTo>
                    <a:pt x="5979" y="618"/>
                  </a:lnTo>
                  <a:lnTo>
                    <a:pt x="5943" y="616"/>
                  </a:lnTo>
                  <a:lnTo>
                    <a:pt x="5908" y="608"/>
                  </a:lnTo>
                  <a:lnTo>
                    <a:pt x="5908" y="783"/>
                  </a:lnTo>
                  <a:lnTo>
                    <a:pt x="5908" y="789"/>
                  </a:lnTo>
                  <a:lnTo>
                    <a:pt x="5905" y="793"/>
                  </a:lnTo>
                  <a:lnTo>
                    <a:pt x="5897" y="795"/>
                  </a:lnTo>
                  <a:lnTo>
                    <a:pt x="5846" y="795"/>
                  </a:lnTo>
                  <a:lnTo>
                    <a:pt x="5840" y="795"/>
                  </a:lnTo>
                  <a:lnTo>
                    <a:pt x="5836" y="793"/>
                  </a:lnTo>
                  <a:lnTo>
                    <a:pt x="5835" y="789"/>
                  </a:lnTo>
                  <a:lnTo>
                    <a:pt x="5834" y="783"/>
                  </a:lnTo>
                  <a:lnTo>
                    <a:pt x="5834" y="193"/>
                  </a:lnTo>
                  <a:close/>
                  <a:moveTo>
                    <a:pt x="5573" y="558"/>
                  </a:moveTo>
                  <a:lnTo>
                    <a:pt x="5600" y="557"/>
                  </a:lnTo>
                  <a:lnTo>
                    <a:pt x="5620" y="552"/>
                  </a:lnTo>
                  <a:lnTo>
                    <a:pt x="5628" y="548"/>
                  </a:lnTo>
                  <a:lnTo>
                    <a:pt x="5636" y="543"/>
                  </a:lnTo>
                  <a:lnTo>
                    <a:pt x="5642" y="536"/>
                  </a:lnTo>
                  <a:lnTo>
                    <a:pt x="5646" y="528"/>
                  </a:lnTo>
                  <a:lnTo>
                    <a:pt x="5654" y="507"/>
                  </a:lnTo>
                  <a:lnTo>
                    <a:pt x="5658" y="480"/>
                  </a:lnTo>
                  <a:lnTo>
                    <a:pt x="5660" y="445"/>
                  </a:lnTo>
                  <a:lnTo>
                    <a:pt x="5660" y="401"/>
                  </a:lnTo>
                  <a:lnTo>
                    <a:pt x="5660" y="354"/>
                  </a:lnTo>
                  <a:lnTo>
                    <a:pt x="5658" y="316"/>
                  </a:lnTo>
                  <a:lnTo>
                    <a:pt x="5653" y="287"/>
                  </a:lnTo>
                  <a:lnTo>
                    <a:pt x="5644" y="265"/>
                  </a:lnTo>
                  <a:lnTo>
                    <a:pt x="5639" y="256"/>
                  </a:lnTo>
                  <a:lnTo>
                    <a:pt x="5632" y="249"/>
                  </a:lnTo>
                  <a:lnTo>
                    <a:pt x="5624" y="244"/>
                  </a:lnTo>
                  <a:lnTo>
                    <a:pt x="5615" y="240"/>
                  </a:lnTo>
                  <a:lnTo>
                    <a:pt x="5591" y="234"/>
                  </a:lnTo>
                  <a:lnTo>
                    <a:pt x="5560" y="233"/>
                  </a:lnTo>
                  <a:lnTo>
                    <a:pt x="5534" y="234"/>
                  </a:lnTo>
                  <a:lnTo>
                    <a:pt x="5513" y="240"/>
                  </a:lnTo>
                  <a:lnTo>
                    <a:pt x="5505" y="244"/>
                  </a:lnTo>
                  <a:lnTo>
                    <a:pt x="5497" y="249"/>
                  </a:lnTo>
                  <a:lnTo>
                    <a:pt x="5491" y="256"/>
                  </a:lnTo>
                  <a:lnTo>
                    <a:pt x="5486" y="264"/>
                  </a:lnTo>
                  <a:lnTo>
                    <a:pt x="5479" y="285"/>
                  </a:lnTo>
                  <a:lnTo>
                    <a:pt x="5475" y="312"/>
                  </a:lnTo>
                  <a:lnTo>
                    <a:pt x="5473" y="347"/>
                  </a:lnTo>
                  <a:lnTo>
                    <a:pt x="5472" y="390"/>
                  </a:lnTo>
                  <a:lnTo>
                    <a:pt x="5473" y="438"/>
                  </a:lnTo>
                  <a:lnTo>
                    <a:pt x="5475" y="476"/>
                  </a:lnTo>
                  <a:lnTo>
                    <a:pt x="5480" y="505"/>
                  </a:lnTo>
                  <a:lnTo>
                    <a:pt x="5489" y="527"/>
                  </a:lnTo>
                  <a:lnTo>
                    <a:pt x="5494" y="535"/>
                  </a:lnTo>
                  <a:lnTo>
                    <a:pt x="5501" y="543"/>
                  </a:lnTo>
                  <a:lnTo>
                    <a:pt x="5509" y="548"/>
                  </a:lnTo>
                  <a:lnTo>
                    <a:pt x="5519" y="552"/>
                  </a:lnTo>
                  <a:lnTo>
                    <a:pt x="5542" y="557"/>
                  </a:lnTo>
                  <a:lnTo>
                    <a:pt x="5573" y="558"/>
                  </a:lnTo>
                  <a:close/>
                  <a:moveTo>
                    <a:pt x="5566" y="173"/>
                  </a:moveTo>
                  <a:lnTo>
                    <a:pt x="5613" y="175"/>
                  </a:lnTo>
                  <a:lnTo>
                    <a:pt x="5649" y="182"/>
                  </a:lnTo>
                  <a:lnTo>
                    <a:pt x="5665" y="188"/>
                  </a:lnTo>
                  <a:lnTo>
                    <a:pt x="5679" y="197"/>
                  </a:lnTo>
                  <a:lnTo>
                    <a:pt x="5690" y="206"/>
                  </a:lnTo>
                  <a:lnTo>
                    <a:pt x="5701" y="218"/>
                  </a:lnTo>
                  <a:lnTo>
                    <a:pt x="5709" y="231"/>
                  </a:lnTo>
                  <a:lnTo>
                    <a:pt x="5716" y="248"/>
                  </a:lnTo>
                  <a:lnTo>
                    <a:pt x="5721" y="266"/>
                  </a:lnTo>
                  <a:lnTo>
                    <a:pt x="5726" y="288"/>
                  </a:lnTo>
                  <a:lnTo>
                    <a:pt x="5731" y="337"/>
                  </a:lnTo>
                  <a:lnTo>
                    <a:pt x="5732" y="399"/>
                  </a:lnTo>
                  <a:lnTo>
                    <a:pt x="5730" y="460"/>
                  </a:lnTo>
                  <a:lnTo>
                    <a:pt x="5727" y="485"/>
                  </a:lnTo>
                  <a:lnTo>
                    <a:pt x="5724" y="508"/>
                  </a:lnTo>
                  <a:lnTo>
                    <a:pt x="5719" y="529"/>
                  </a:lnTo>
                  <a:lnTo>
                    <a:pt x="5712" y="547"/>
                  </a:lnTo>
                  <a:lnTo>
                    <a:pt x="5704" y="563"/>
                  </a:lnTo>
                  <a:lnTo>
                    <a:pt x="5696" y="575"/>
                  </a:lnTo>
                  <a:lnTo>
                    <a:pt x="5685" y="587"/>
                  </a:lnTo>
                  <a:lnTo>
                    <a:pt x="5672" y="596"/>
                  </a:lnTo>
                  <a:lnTo>
                    <a:pt x="5659" y="605"/>
                  </a:lnTo>
                  <a:lnTo>
                    <a:pt x="5644" y="610"/>
                  </a:lnTo>
                  <a:lnTo>
                    <a:pt x="5627" y="614"/>
                  </a:lnTo>
                  <a:lnTo>
                    <a:pt x="5608" y="617"/>
                  </a:lnTo>
                  <a:lnTo>
                    <a:pt x="5566" y="619"/>
                  </a:lnTo>
                  <a:lnTo>
                    <a:pt x="5520" y="617"/>
                  </a:lnTo>
                  <a:lnTo>
                    <a:pt x="5484" y="610"/>
                  </a:lnTo>
                  <a:lnTo>
                    <a:pt x="5468" y="604"/>
                  </a:lnTo>
                  <a:lnTo>
                    <a:pt x="5454" y="595"/>
                  </a:lnTo>
                  <a:lnTo>
                    <a:pt x="5443" y="586"/>
                  </a:lnTo>
                  <a:lnTo>
                    <a:pt x="5432" y="574"/>
                  </a:lnTo>
                  <a:lnTo>
                    <a:pt x="5424" y="561"/>
                  </a:lnTo>
                  <a:lnTo>
                    <a:pt x="5417" y="544"/>
                  </a:lnTo>
                  <a:lnTo>
                    <a:pt x="5407" y="505"/>
                  </a:lnTo>
                  <a:lnTo>
                    <a:pt x="5402" y="455"/>
                  </a:lnTo>
                  <a:lnTo>
                    <a:pt x="5400" y="393"/>
                  </a:lnTo>
                  <a:lnTo>
                    <a:pt x="5402" y="332"/>
                  </a:lnTo>
                  <a:lnTo>
                    <a:pt x="5405" y="307"/>
                  </a:lnTo>
                  <a:lnTo>
                    <a:pt x="5409" y="284"/>
                  </a:lnTo>
                  <a:lnTo>
                    <a:pt x="5414" y="263"/>
                  </a:lnTo>
                  <a:lnTo>
                    <a:pt x="5421" y="245"/>
                  </a:lnTo>
                  <a:lnTo>
                    <a:pt x="5428" y="229"/>
                  </a:lnTo>
                  <a:lnTo>
                    <a:pt x="5437" y="216"/>
                  </a:lnTo>
                  <a:lnTo>
                    <a:pt x="5448" y="205"/>
                  </a:lnTo>
                  <a:lnTo>
                    <a:pt x="5460" y="196"/>
                  </a:lnTo>
                  <a:lnTo>
                    <a:pt x="5474" y="188"/>
                  </a:lnTo>
                  <a:lnTo>
                    <a:pt x="5489" y="182"/>
                  </a:lnTo>
                  <a:lnTo>
                    <a:pt x="5524" y="175"/>
                  </a:lnTo>
                  <a:lnTo>
                    <a:pt x="5566" y="173"/>
                  </a:lnTo>
                  <a:close/>
                  <a:moveTo>
                    <a:pt x="5061" y="347"/>
                  </a:moveTo>
                  <a:lnTo>
                    <a:pt x="5239" y="347"/>
                  </a:lnTo>
                  <a:lnTo>
                    <a:pt x="5237" y="316"/>
                  </a:lnTo>
                  <a:lnTo>
                    <a:pt x="5234" y="291"/>
                  </a:lnTo>
                  <a:lnTo>
                    <a:pt x="5226" y="271"/>
                  </a:lnTo>
                  <a:lnTo>
                    <a:pt x="5222" y="263"/>
                  </a:lnTo>
                  <a:lnTo>
                    <a:pt x="5218" y="255"/>
                  </a:lnTo>
                  <a:lnTo>
                    <a:pt x="5212" y="250"/>
                  </a:lnTo>
                  <a:lnTo>
                    <a:pt x="5205" y="245"/>
                  </a:lnTo>
                  <a:lnTo>
                    <a:pt x="5189" y="238"/>
                  </a:lnTo>
                  <a:lnTo>
                    <a:pt x="5169" y="234"/>
                  </a:lnTo>
                  <a:lnTo>
                    <a:pt x="5144" y="233"/>
                  </a:lnTo>
                  <a:lnTo>
                    <a:pt x="5122" y="234"/>
                  </a:lnTo>
                  <a:lnTo>
                    <a:pt x="5105" y="239"/>
                  </a:lnTo>
                  <a:lnTo>
                    <a:pt x="5090" y="245"/>
                  </a:lnTo>
                  <a:lnTo>
                    <a:pt x="5078" y="256"/>
                  </a:lnTo>
                  <a:lnTo>
                    <a:pt x="5071" y="271"/>
                  </a:lnTo>
                  <a:lnTo>
                    <a:pt x="5066" y="291"/>
                  </a:lnTo>
                  <a:lnTo>
                    <a:pt x="5062" y="316"/>
                  </a:lnTo>
                  <a:lnTo>
                    <a:pt x="5061" y="347"/>
                  </a:lnTo>
                  <a:close/>
                  <a:moveTo>
                    <a:pt x="5061" y="412"/>
                  </a:moveTo>
                  <a:lnTo>
                    <a:pt x="5062" y="453"/>
                  </a:lnTo>
                  <a:lnTo>
                    <a:pt x="5063" y="470"/>
                  </a:lnTo>
                  <a:lnTo>
                    <a:pt x="5064" y="486"/>
                  </a:lnTo>
                  <a:lnTo>
                    <a:pt x="5070" y="511"/>
                  </a:lnTo>
                  <a:lnTo>
                    <a:pt x="5078" y="531"/>
                  </a:lnTo>
                  <a:lnTo>
                    <a:pt x="5085" y="539"/>
                  </a:lnTo>
                  <a:lnTo>
                    <a:pt x="5091" y="545"/>
                  </a:lnTo>
                  <a:lnTo>
                    <a:pt x="5099" y="549"/>
                  </a:lnTo>
                  <a:lnTo>
                    <a:pt x="5109" y="553"/>
                  </a:lnTo>
                  <a:lnTo>
                    <a:pt x="5132" y="557"/>
                  </a:lnTo>
                  <a:lnTo>
                    <a:pt x="5161" y="558"/>
                  </a:lnTo>
                  <a:lnTo>
                    <a:pt x="5180" y="558"/>
                  </a:lnTo>
                  <a:lnTo>
                    <a:pt x="5197" y="556"/>
                  </a:lnTo>
                  <a:lnTo>
                    <a:pt x="5210" y="552"/>
                  </a:lnTo>
                  <a:lnTo>
                    <a:pt x="5220" y="546"/>
                  </a:lnTo>
                  <a:lnTo>
                    <a:pt x="5230" y="539"/>
                  </a:lnTo>
                  <a:lnTo>
                    <a:pt x="5236" y="528"/>
                  </a:lnTo>
                  <a:lnTo>
                    <a:pt x="5247" y="500"/>
                  </a:lnTo>
                  <a:lnTo>
                    <a:pt x="5249" y="493"/>
                  </a:lnTo>
                  <a:lnTo>
                    <a:pt x="5254" y="489"/>
                  </a:lnTo>
                  <a:lnTo>
                    <a:pt x="5258" y="488"/>
                  </a:lnTo>
                  <a:lnTo>
                    <a:pt x="5264" y="488"/>
                  </a:lnTo>
                  <a:lnTo>
                    <a:pt x="5303" y="495"/>
                  </a:lnTo>
                  <a:lnTo>
                    <a:pt x="5309" y="496"/>
                  </a:lnTo>
                  <a:lnTo>
                    <a:pt x="5313" y="500"/>
                  </a:lnTo>
                  <a:lnTo>
                    <a:pt x="5316" y="505"/>
                  </a:lnTo>
                  <a:lnTo>
                    <a:pt x="5316" y="511"/>
                  </a:lnTo>
                  <a:lnTo>
                    <a:pt x="5309" y="533"/>
                  </a:lnTo>
                  <a:lnTo>
                    <a:pt x="5301" y="553"/>
                  </a:lnTo>
                  <a:lnTo>
                    <a:pt x="5289" y="571"/>
                  </a:lnTo>
                  <a:lnTo>
                    <a:pt x="5282" y="579"/>
                  </a:lnTo>
                  <a:lnTo>
                    <a:pt x="5274" y="588"/>
                  </a:lnTo>
                  <a:lnTo>
                    <a:pt x="5254" y="600"/>
                  </a:lnTo>
                  <a:lnTo>
                    <a:pt x="5227" y="611"/>
                  </a:lnTo>
                  <a:lnTo>
                    <a:pt x="5213" y="615"/>
                  </a:lnTo>
                  <a:lnTo>
                    <a:pt x="5195" y="617"/>
                  </a:lnTo>
                  <a:lnTo>
                    <a:pt x="5155" y="619"/>
                  </a:lnTo>
                  <a:lnTo>
                    <a:pt x="5109" y="617"/>
                  </a:lnTo>
                  <a:lnTo>
                    <a:pt x="5071" y="610"/>
                  </a:lnTo>
                  <a:lnTo>
                    <a:pt x="5056" y="604"/>
                  </a:lnTo>
                  <a:lnTo>
                    <a:pt x="5043" y="595"/>
                  </a:lnTo>
                  <a:lnTo>
                    <a:pt x="5031" y="586"/>
                  </a:lnTo>
                  <a:lnTo>
                    <a:pt x="5021" y="574"/>
                  </a:lnTo>
                  <a:lnTo>
                    <a:pt x="5012" y="561"/>
                  </a:lnTo>
                  <a:lnTo>
                    <a:pt x="5005" y="544"/>
                  </a:lnTo>
                  <a:lnTo>
                    <a:pt x="4995" y="505"/>
                  </a:lnTo>
                  <a:lnTo>
                    <a:pt x="4989" y="455"/>
                  </a:lnTo>
                  <a:lnTo>
                    <a:pt x="4988" y="393"/>
                  </a:lnTo>
                  <a:lnTo>
                    <a:pt x="4990" y="332"/>
                  </a:lnTo>
                  <a:lnTo>
                    <a:pt x="4993" y="307"/>
                  </a:lnTo>
                  <a:lnTo>
                    <a:pt x="4996" y="284"/>
                  </a:lnTo>
                  <a:lnTo>
                    <a:pt x="5002" y="263"/>
                  </a:lnTo>
                  <a:lnTo>
                    <a:pt x="5009" y="245"/>
                  </a:lnTo>
                  <a:lnTo>
                    <a:pt x="5016" y="229"/>
                  </a:lnTo>
                  <a:lnTo>
                    <a:pt x="5026" y="216"/>
                  </a:lnTo>
                  <a:lnTo>
                    <a:pt x="5036" y="205"/>
                  </a:lnTo>
                  <a:lnTo>
                    <a:pt x="5048" y="196"/>
                  </a:lnTo>
                  <a:lnTo>
                    <a:pt x="5062" y="188"/>
                  </a:lnTo>
                  <a:lnTo>
                    <a:pt x="5077" y="182"/>
                  </a:lnTo>
                  <a:lnTo>
                    <a:pt x="5113" y="175"/>
                  </a:lnTo>
                  <a:lnTo>
                    <a:pt x="5155" y="173"/>
                  </a:lnTo>
                  <a:lnTo>
                    <a:pt x="5178" y="174"/>
                  </a:lnTo>
                  <a:lnTo>
                    <a:pt x="5199" y="176"/>
                  </a:lnTo>
                  <a:lnTo>
                    <a:pt x="5218" y="179"/>
                  </a:lnTo>
                  <a:lnTo>
                    <a:pt x="5235" y="184"/>
                  </a:lnTo>
                  <a:lnTo>
                    <a:pt x="5249" y="191"/>
                  </a:lnTo>
                  <a:lnTo>
                    <a:pt x="5262" y="200"/>
                  </a:lnTo>
                  <a:lnTo>
                    <a:pt x="5274" y="209"/>
                  </a:lnTo>
                  <a:lnTo>
                    <a:pt x="5283" y="221"/>
                  </a:lnTo>
                  <a:lnTo>
                    <a:pt x="5290" y="233"/>
                  </a:lnTo>
                  <a:lnTo>
                    <a:pt x="5297" y="248"/>
                  </a:lnTo>
                  <a:lnTo>
                    <a:pt x="5302" y="264"/>
                  </a:lnTo>
                  <a:lnTo>
                    <a:pt x="5305" y="281"/>
                  </a:lnTo>
                  <a:lnTo>
                    <a:pt x="5308" y="301"/>
                  </a:lnTo>
                  <a:lnTo>
                    <a:pt x="5310" y="320"/>
                  </a:lnTo>
                  <a:lnTo>
                    <a:pt x="5311" y="367"/>
                  </a:lnTo>
                  <a:lnTo>
                    <a:pt x="5311" y="396"/>
                  </a:lnTo>
                  <a:lnTo>
                    <a:pt x="5310" y="403"/>
                  </a:lnTo>
                  <a:lnTo>
                    <a:pt x="5307" y="407"/>
                  </a:lnTo>
                  <a:lnTo>
                    <a:pt x="5303" y="411"/>
                  </a:lnTo>
                  <a:lnTo>
                    <a:pt x="5296" y="412"/>
                  </a:lnTo>
                  <a:lnTo>
                    <a:pt x="5061" y="412"/>
                  </a:lnTo>
                  <a:close/>
                  <a:moveTo>
                    <a:pt x="4760" y="104"/>
                  </a:moveTo>
                  <a:lnTo>
                    <a:pt x="4653" y="104"/>
                  </a:lnTo>
                  <a:lnTo>
                    <a:pt x="4653" y="339"/>
                  </a:lnTo>
                  <a:lnTo>
                    <a:pt x="4736" y="339"/>
                  </a:lnTo>
                  <a:lnTo>
                    <a:pt x="4763" y="337"/>
                  </a:lnTo>
                  <a:lnTo>
                    <a:pt x="4787" y="331"/>
                  </a:lnTo>
                  <a:lnTo>
                    <a:pt x="4796" y="327"/>
                  </a:lnTo>
                  <a:lnTo>
                    <a:pt x="4804" y="321"/>
                  </a:lnTo>
                  <a:lnTo>
                    <a:pt x="4819" y="308"/>
                  </a:lnTo>
                  <a:lnTo>
                    <a:pt x="4830" y="290"/>
                  </a:lnTo>
                  <a:lnTo>
                    <a:pt x="4837" y="268"/>
                  </a:lnTo>
                  <a:lnTo>
                    <a:pt x="4841" y="241"/>
                  </a:lnTo>
                  <a:lnTo>
                    <a:pt x="4842" y="210"/>
                  </a:lnTo>
                  <a:lnTo>
                    <a:pt x="4841" y="186"/>
                  </a:lnTo>
                  <a:lnTo>
                    <a:pt x="4837" y="165"/>
                  </a:lnTo>
                  <a:lnTo>
                    <a:pt x="4831" y="147"/>
                  </a:lnTo>
                  <a:lnTo>
                    <a:pt x="4822" y="133"/>
                  </a:lnTo>
                  <a:lnTo>
                    <a:pt x="4810" y="120"/>
                  </a:lnTo>
                  <a:lnTo>
                    <a:pt x="4796" y="111"/>
                  </a:lnTo>
                  <a:lnTo>
                    <a:pt x="4779" y="105"/>
                  </a:lnTo>
                  <a:lnTo>
                    <a:pt x="4760" y="104"/>
                  </a:lnTo>
                  <a:close/>
                  <a:moveTo>
                    <a:pt x="4577" y="51"/>
                  </a:moveTo>
                  <a:lnTo>
                    <a:pt x="4580" y="40"/>
                  </a:lnTo>
                  <a:lnTo>
                    <a:pt x="4583" y="38"/>
                  </a:lnTo>
                  <a:lnTo>
                    <a:pt x="4588" y="38"/>
                  </a:lnTo>
                  <a:lnTo>
                    <a:pt x="4768" y="38"/>
                  </a:lnTo>
                  <a:lnTo>
                    <a:pt x="4789" y="39"/>
                  </a:lnTo>
                  <a:lnTo>
                    <a:pt x="4808" y="42"/>
                  </a:lnTo>
                  <a:lnTo>
                    <a:pt x="4824" y="46"/>
                  </a:lnTo>
                  <a:lnTo>
                    <a:pt x="4839" y="52"/>
                  </a:lnTo>
                  <a:lnTo>
                    <a:pt x="4853" y="59"/>
                  </a:lnTo>
                  <a:lnTo>
                    <a:pt x="4865" y="68"/>
                  </a:lnTo>
                  <a:lnTo>
                    <a:pt x="4876" y="78"/>
                  </a:lnTo>
                  <a:lnTo>
                    <a:pt x="4885" y="89"/>
                  </a:lnTo>
                  <a:lnTo>
                    <a:pt x="4894" y="101"/>
                  </a:lnTo>
                  <a:lnTo>
                    <a:pt x="4900" y="115"/>
                  </a:lnTo>
                  <a:lnTo>
                    <a:pt x="4906" y="129"/>
                  </a:lnTo>
                  <a:lnTo>
                    <a:pt x="4910" y="143"/>
                  </a:lnTo>
                  <a:lnTo>
                    <a:pt x="4916" y="176"/>
                  </a:lnTo>
                  <a:lnTo>
                    <a:pt x="4918" y="210"/>
                  </a:lnTo>
                  <a:lnTo>
                    <a:pt x="4917" y="233"/>
                  </a:lnTo>
                  <a:lnTo>
                    <a:pt x="4915" y="255"/>
                  </a:lnTo>
                  <a:lnTo>
                    <a:pt x="4910" y="276"/>
                  </a:lnTo>
                  <a:lnTo>
                    <a:pt x="4905" y="295"/>
                  </a:lnTo>
                  <a:lnTo>
                    <a:pt x="4898" y="313"/>
                  </a:lnTo>
                  <a:lnTo>
                    <a:pt x="4889" y="329"/>
                  </a:lnTo>
                  <a:lnTo>
                    <a:pt x="4879" y="344"/>
                  </a:lnTo>
                  <a:lnTo>
                    <a:pt x="4867" y="356"/>
                  </a:lnTo>
                  <a:lnTo>
                    <a:pt x="4855" y="368"/>
                  </a:lnTo>
                  <a:lnTo>
                    <a:pt x="4841" y="377"/>
                  </a:lnTo>
                  <a:lnTo>
                    <a:pt x="4825" y="385"/>
                  </a:lnTo>
                  <a:lnTo>
                    <a:pt x="4817" y="389"/>
                  </a:lnTo>
                  <a:lnTo>
                    <a:pt x="4809" y="392"/>
                  </a:lnTo>
                  <a:lnTo>
                    <a:pt x="4791" y="397"/>
                  </a:lnTo>
                  <a:lnTo>
                    <a:pt x="4772" y="401"/>
                  </a:lnTo>
                  <a:lnTo>
                    <a:pt x="4730" y="404"/>
                  </a:lnTo>
                  <a:lnTo>
                    <a:pt x="4653" y="404"/>
                  </a:lnTo>
                  <a:lnTo>
                    <a:pt x="4653" y="600"/>
                  </a:lnTo>
                  <a:lnTo>
                    <a:pt x="4652" y="606"/>
                  </a:lnTo>
                  <a:lnTo>
                    <a:pt x="4649" y="610"/>
                  </a:lnTo>
                  <a:lnTo>
                    <a:pt x="4646" y="612"/>
                  </a:lnTo>
                  <a:lnTo>
                    <a:pt x="4642" y="612"/>
                  </a:lnTo>
                  <a:lnTo>
                    <a:pt x="4588" y="612"/>
                  </a:lnTo>
                  <a:lnTo>
                    <a:pt x="4580" y="610"/>
                  </a:lnTo>
                  <a:lnTo>
                    <a:pt x="4578" y="606"/>
                  </a:lnTo>
                  <a:lnTo>
                    <a:pt x="4577" y="600"/>
                  </a:lnTo>
                  <a:lnTo>
                    <a:pt x="4577" y="51"/>
                  </a:lnTo>
                  <a:close/>
                  <a:moveTo>
                    <a:pt x="4113" y="558"/>
                  </a:moveTo>
                  <a:lnTo>
                    <a:pt x="4139" y="557"/>
                  </a:lnTo>
                  <a:lnTo>
                    <a:pt x="4160" y="552"/>
                  </a:lnTo>
                  <a:lnTo>
                    <a:pt x="4168" y="548"/>
                  </a:lnTo>
                  <a:lnTo>
                    <a:pt x="4176" y="543"/>
                  </a:lnTo>
                  <a:lnTo>
                    <a:pt x="4181" y="536"/>
                  </a:lnTo>
                  <a:lnTo>
                    <a:pt x="4186" y="528"/>
                  </a:lnTo>
                  <a:lnTo>
                    <a:pt x="4193" y="507"/>
                  </a:lnTo>
                  <a:lnTo>
                    <a:pt x="4198" y="480"/>
                  </a:lnTo>
                  <a:lnTo>
                    <a:pt x="4200" y="445"/>
                  </a:lnTo>
                  <a:lnTo>
                    <a:pt x="4200" y="401"/>
                  </a:lnTo>
                  <a:lnTo>
                    <a:pt x="4200" y="354"/>
                  </a:lnTo>
                  <a:lnTo>
                    <a:pt x="4197" y="316"/>
                  </a:lnTo>
                  <a:lnTo>
                    <a:pt x="4192" y="287"/>
                  </a:lnTo>
                  <a:lnTo>
                    <a:pt x="4184" y="265"/>
                  </a:lnTo>
                  <a:lnTo>
                    <a:pt x="4179" y="256"/>
                  </a:lnTo>
                  <a:lnTo>
                    <a:pt x="4171" y="249"/>
                  </a:lnTo>
                  <a:lnTo>
                    <a:pt x="4163" y="244"/>
                  </a:lnTo>
                  <a:lnTo>
                    <a:pt x="4154" y="240"/>
                  </a:lnTo>
                  <a:lnTo>
                    <a:pt x="4130" y="234"/>
                  </a:lnTo>
                  <a:lnTo>
                    <a:pt x="4100" y="233"/>
                  </a:lnTo>
                  <a:lnTo>
                    <a:pt x="4073" y="234"/>
                  </a:lnTo>
                  <a:lnTo>
                    <a:pt x="4053" y="240"/>
                  </a:lnTo>
                  <a:lnTo>
                    <a:pt x="4044" y="244"/>
                  </a:lnTo>
                  <a:lnTo>
                    <a:pt x="4037" y="249"/>
                  </a:lnTo>
                  <a:lnTo>
                    <a:pt x="4031" y="256"/>
                  </a:lnTo>
                  <a:lnTo>
                    <a:pt x="4026" y="264"/>
                  </a:lnTo>
                  <a:lnTo>
                    <a:pt x="4018" y="285"/>
                  </a:lnTo>
                  <a:lnTo>
                    <a:pt x="4014" y="312"/>
                  </a:lnTo>
                  <a:lnTo>
                    <a:pt x="4012" y="347"/>
                  </a:lnTo>
                  <a:lnTo>
                    <a:pt x="4012" y="390"/>
                  </a:lnTo>
                  <a:lnTo>
                    <a:pt x="4012" y="438"/>
                  </a:lnTo>
                  <a:lnTo>
                    <a:pt x="4015" y="476"/>
                  </a:lnTo>
                  <a:lnTo>
                    <a:pt x="4019" y="505"/>
                  </a:lnTo>
                  <a:lnTo>
                    <a:pt x="4028" y="527"/>
                  </a:lnTo>
                  <a:lnTo>
                    <a:pt x="4034" y="535"/>
                  </a:lnTo>
                  <a:lnTo>
                    <a:pt x="4040" y="543"/>
                  </a:lnTo>
                  <a:lnTo>
                    <a:pt x="4049" y="548"/>
                  </a:lnTo>
                  <a:lnTo>
                    <a:pt x="4058" y="552"/>
                  </a:lnTo>
                  <a:lnTo>
                    <a:pt x="4082" y="557"/>
                  </a:lnTo>
                  <a:lnTo>
                    <a:pt x="4113" y="558"/>
                  </a:lnTo>
                  <a:close/>
                  <a:moveTo>
                    <a:pt x="4106" y="173"/>
                  </a:moveTo>
                  <a:lnTo>
                    <a:pt x="4153" y="175"/>
                  </a:lnTo>
                  <a:lnTo>
                    <a:pt x="4189" y="182"/>
                  </a:lnTo>
                  <a:lnTo>
                    <a:pt x="4205" y="188"/>
                  </a:lnTo>
                  <a:lnTo>
                    <a:pt x="4219" y="197"/>
                  </a:lnTo>
                  <a:lnTo>
                    <a:pt x="4230" y="206"/>
                  </a:lnTo>
                  <a:lnTo>
                    <a:pt x="4240" y="218"/>
                  </a:lnTo>
                  <a:lnTo>
                    <a:pt x="4248" y="231"/>
                  </a:lnTo>
                  <a:lnTo>
                    <a:pt x="4255" y="248"/>
                  </a:lnTo>
                  <a:lnTo>
                    <a:pt x="4261" y="266"/>
                  </a:lnTo>
                  <a:lnTo>
                    <a:pt x="4265" y="288"/>
                  </a:lnTo>
                  <a:lnTo>
                    <a:pt x="4270" y="337"/>
                  </a:lnTo>
                  <a:lnTo>
                    <a:pt x="4272" y="399"/>
                  </a:lnTo>
                  <a:lnTo>
                    <a:pt x="4270" y="460"/>
                  </a:lnTo>
                  <a:lnTo>
                    <a:pt x="4267" y="485"/>
                  </a:lnTo>
                  <a:lnTo>
                    <a:pt x="4264" y="508"/>
                  </a:lnTo>
                  <a:lnTo>
                    <a:pt x="4259" y="529"/>
                  </a:lnTo>
                  <a:lnTo>
                    <a:pt x="4252" y="547"/>
                  </a:lnTo>
                  <a:lnTo>
                    <a:pt x="4244" y="563"/>
                  </a:lnTo>
                  <a:lnTo>
                    <a:pt x="4235" y="575"/>
                  </a:lnTo>
                  <a:lnTo>
                    <a:pt x="4225" y="587"/>
                  </a:lnTo>
                  <a:lnTo>
                    <a:pt x="4212" y="596"/>
                  </a:lnTo>
                  <a:lnTo>
                    <a:pt x="4199" y="605"/>
                  </a:lnTo>
                  <a:lnTo>
                    <a:pt x="4184" y="610"/>
                  </a:lnTo>
                  <a:lnTo>
                    <a:pt x="4167" y="614"/>
                  </a:lnTo>
                  <a:lnTo>
                    <a:pt x="4148" y="617"/>
                  </a:lnTo>
                  <a:lnTo>
                    <a:pt x="4106" y="619"/>
                  </a:lnTo>
                  <a:lnTo>
                    <a:pt x="4060" y="617"/>
                  </a:lnTo>
                  <a:lnTo>
                    <a:pt x="4023" y="610"/>
                  </a:lnTo>
                  <a:lnTo>
                    <a:pt x="4008" y="604"/>
                  </a:lnTo>
                  <a:lnTo>
                    <a:pt x="3994" y="595"/>
                  </a:lnTo>
                  <a:lnTo>
                    <a:pt x="3982" y="586"/>
                  </a:lnTo>
                  <a:lnTo>
                    <a:pt x="3972" y="574"/>
                  </a:lnTo>
                  <a:lnTo>
                    <a:pt x="3964" y="561"/>
                  </a:lnTo>
                  <a:lnTo>
                    <a:pt x="3956" y="544"/>
                  </a:lnTo>
                  <a:lnTo>
                    <a:pt x="3947" y="505"/>
                  </a:lnTo>
                  <a:lnTo>
                    <a:pt x="3942" y="455"/>
                  </a:lnTo>
                  <a:lnTo>
                    <a:pt x="3939" y="393"/>
                  </a:lnTo>
                  <a:lnTo>
                    <a:pt x="3942" y="332"/>
                  </a:lnTo>
                  <a:lnTo>
                    <a:pt x="3945" y="307"/>
                  </a:lnTo>
                  <a:lnTo>
                    <a:pt x="3949" y="284"/>
                  </a:lnTo>
                  <a:lnTo>
                    <a:pt x="3954" y="263"/>
                  </a:lnTo>
                  <a:lnTo>
                    <a:pt x="3960" y="245"/>
                  </a:lnTo>
                  <a:lnTo>
                    <a:pt x="3968" y="229"/>
                  </a:lnTo>
                  <a:lnTo>
                    <a:pt x="3977" y="216"/>
                  </a:lnTo>
                  <a:lnTo>
                    <a:pt x="3988" y="205"/>
                  </a:lnTo>
                  <a:lnTo>
                    <a:pt x="4000" y="196"/>
                  </a:lnTo>
                  <a:lnTo>
                    <a:pt x="4014" y="188"/>
                  </a:lnTo>
                  <a:lnTo>
                    <a:pt x="4029" y="182"/>
                  </a:lnTo>
                  <a:lnTo>
                    <a:pt x="4064" y="175"/>
                  </a:lnTo>
                  <a:lnTo>
                    <a:pt x="4106" y="173"/>
                  </a:lnTo>
                  <a:close/>
                  <a:moveTo>
                    <a:pt x="3678" y="250"/>
                  </a:moveTo>
                  <a:lnTo>
                    <a:pt x="3636" y="250"/>
                  </a:lnTo>
                  <a:lnTo>
                    <a:pt x="3629" y="248"/>
                  </a:lnTo>
                  <a:lnTo>
                    <a:pt x="3628" y="245"/>
                  </a:lnTo>
                  <a:lnTo>
                    <a:pt x="3627" y="241"/>
                  </a:lnTo>
                  <a:lnTo>
                    <a:pt x="3627" y="196"/>
                  </a:lnTo>
                  <a:lnTo>
                    <a:pt x="3629" y="188"/>
                  </a:lnTo>
                  <a:lnTo>
                    <a:pt x="3636" y="186"/>
                  </a:lnTo>
                  <a:lnTo>
                    <a:pt x="3682" y="186"/>
                  </a:lnTo>
                  <a:lnTo>
                    <a:pt x="3701" y="79"/>
                  </a:lnTo>
                  <a:lnTo>
                    <a:pt x="3706" y="69"/>
                  </a:lnTo>
                  <a:lnTo>
                    <a:pt x="3714" y="66"/>
                  </a:lnTo>
                  <a:lnTo>
                    <a:pt x="3741" y="66"/>
                  </a:lnTo>
                  <a:lnTo>
                    <a:pt x="3746" y="67"/>
                  </a:lnTo>
                  <a:lnTo>
                    <a:pt x="3749" y="69"/>
                  </a:lnTo>
                  <a:lnTo>
                    <a:pt x="3752" y="73"/>
                  </a:lnTo>
                  <a:lnTo>
                    <a:pt x="3753" y="79"/>
                  </a:lnTo>
                  <a:lnTo>
                    <a:pt x="3753" y="186"/>
                  </a:lnTo>
                  <a:lnTo>
                    <a:pt x="3854" y="186"/>
                  </a:lnTo>
                  <a:lnTo>
                    <a:pt x="3859" y="186"/>
                  </a:lnTo>
                  <a:lnTo>
                    <a:pt x="3862" y="188"/>
                  </a:lnTo>
                  <a:lnTo>
                    <a:pt x="3864" y="196"/>
                  </a:lnTo>
                  <a:lnTo>
                    <a:pt x="3864" y="241"/>
                  </a:lnTo>
                  <a:lnTo>
                    <a:pt x="3862" y="248"/>
                  </a:lnTo>
                  <a:lnTo>
                    <a:pt x="3854" y="250"/>
                  </a:lnTo>
                  <a:lnTo>
                    <a:pt x="3753" y="250"/>
                  </a:lnTo>
                  <a:lnTo>
                    <a:pt x="3753" y="512"/>
                  </a:lnTo>
                  <a:lnTo>
                    <a:pt x="3753" y="523"/>
                  </a:lnTo>
                  <a:lnTo>
                    <a:pt x="3756" y="532"/>
                  </a:lnTo>
                  <a:lnTo>
                    <a:pt x="3759" y="540"/>
                  </a:lnTo>
                  <a:lnTo>
                    <a:pt x="3764" y="545"/>
                  </a:lnTo>
                  <a:lnTo>
                    <a:pt x="3781" y="552"/>
                  </a:lnTo>
                  <a:lnTo>
                    <a:pt x="3804" y="554"/>
                  </a:lnTo>
                  <a:lnTo>
                    <a:pt x="3864" y="550"/>
                  </a:lnTo>
                  <a:lnTo>
                    <a:pt x="3867" y="550"/>
                  </a:lnTo>
                  <a:lnTo>
                    <a:pt x="3870" y="552"/>
                  </a:lnTo>
                  <a:lnTo>
                    <a:pt x="3872" y="558"/>
                  </a:lnTo>
                  <a:lnTo>
                    <a:pt x="3872" y="599"/>
                  </a:lnTo>
                  <a:lnTo>
                    <a:pt x="3872" y="604"/>
                  </a:lnTo>
                  <a:lnTo>
                    <a:pt x="3870" y="608"/>
                  </a:lnTo>
                  <a:lnTo>
                    <a:pt x="3862" y="612"/>
                  </a:lnTo>
                  <a:lnTo>
                    <a:pt x="3836" y="614"/>
                  </a:lnTo>
                  <a:lnTo>
                    <a:pt x="3803" y="616"/>
                  </a:lnTo>
                  <a:lnTo>
                    <a:pt x="3778" y="615"/>
                  </a:lnTo>
                  <a:lnTo>
                    <a:pt x="3754" y="612"/>
                  </a:lnTo>
                  <a:lnTo>
                    <a:pt x="3733" y="607"/>
                  </a:lnTo>
                  <a:lnTo>
                    <a:pt x="3723" y="603"/>
                  </a:lnTo>
                  <a:lnTo>
                    <a:pt x="3714" y="597"/>
                  </a:lnTo>
                  <a:lnTo>
                    <a:pt x="3699" y="585"/>
                  </a:lnTo>
                  <a:lnTo>
                    <a:pt x="3688" y="566"/>
                  </a:lnTo>
                  <a:lnTo>
                    <a:pt x="3681" y="542"/>
                  </a:lnTo>
                  <a:lnTo>
                    <a:pt x="3679" y="526"/>
                  </a:lnTo>
                  <a:lnTo>
                    <a:pt x="3678" y="510"/>
                  </a:lnTo>
                  <a:lnTo>
                    <a:pt x="3678" y="250"/>
                  </a:lnTo>
                  <a:close/>
                  <a:moveTo>
                    <a:pt x="3293" y="297"/>
                  </a:moveTo>
                  <a:lnTo>
                    <a:pt x="3269" y="267"/>
                  </a:lnTo>
                  <a:lnTo>
                    <a:pt x="3258" y="255"/>
                  </a:lnTo>
                  <a:lnTo>
                    <a:pt x="3247" y="247"/>
                  </a:lnTo>
                  <a:lnTo>
                    <a:pt x="3235" y="241"/>
                  </a:lnTo>
                  <a:lnTo>
                    <a:pt x="3223" y="237"/>
                  </a:lnTo>
                  <a:lnTo>
                    <a:pt x="3208" y="233"/>
                  </a:lnTo>
                  <a:lnTo>
                    <a:pt x="3191" y="233"/>
                  </a:lnTo>
                  <a:lnTo>
                    <a:pt x="3165" y="234"/>
                  </a:lnTo>
                  <a:lnTo>
                    <a:pt x="3145" y="240"/>
                  </a:lnTo>
                  <a:lnTo>
                    <a:pt x="3136" y="244"/>
                  </a:lnTo>
                  <a:lnTo>
                    <a:pt x="3129" y="249"/>
                  </a:lnTo>
                  <a:lnTo>
                    <a:pt x="3123" y="256"/>
                  </a:lnTo>
                  <a:lnTo>
                    <a:pt x="3118" y="264"/>
                  </a:lnTo>
                  <a:lnTo>
                    <a:pt x="3110" y="285"/>
                  </a:lnTo>
                  <a:lnTo>
                    <a:pt x="3105" y="312"/>
                  </a:lnTo>
                  <a:lnTo>
                    <a:pt x="3103" y="347"/>
                  </a:lnTo>
                  <a:lnTo>
                    <a:pt x="3103" y="390"/>
                  </a:lnTo>
                  <a:lnTo>
                    <a:pt x="3103" y="437"/>
                  </a:lnTo>
                  <a:lnTo>
                    <a:pt x="3105" y="475"/>
                  </a:lnTo>
                  <a:lnTo>
                    <a:pt x="3109" y="504"/>
                  </a:lnTo>
                  <a:lnTo>
                    <a:pt x="3118" y="526"/>
                  </a:lnTo>
                  <a:lnTo>
                    <a:pt x="3122" y="534"/>
                  </a:lnTo>
                  <a:lnTo>
                    <a:pt x="3128" y="542"/>
                  </a:lnTo>
                  <a:lnTo>
                    <a:pt x="3144" y="552"/>
                  </a:lnTo>
                  <a:lnTo>
                    <a:pt x="3165" y="557"/>
                  </a:lnTo>
                  <a:lnTo>
                    <a:pt x="3191" y="558"/>
                  </a:lnTo>
                  <a:lnTo>
                    <a:pt x="3217" y="556"/>
                  </a:lnTo>
                  <a:lnTo>
                    <a:pt x="3241" y="547"/>
                  </a:lnTo>
                  <a:lnTo>
                    <a:pt x="3253" y="539"/>
                  </a:lnTo>
                  <a:lnTo>
                    <a:pt x="3266" y="528"/>
                  </a:lnTo>
                  <a:lnTo>
                    <a:pt x="3293" y="496"/>
                  </a:lnTo>
                  <a:lnTo>
                    <a:pt x="3293" y="297"/>
                  </a:lnTo>
                  <a:close/>
                  <a:moveTo>
                    <a:pt x="3293" y="219"/>
                  </a:moveTo>
                  <a:lnTo>
                    <a:pt x="3293" y="23"/>
                  </a:lnTo>
                  <a:lnTo>
                    <a:pt x="3293" y="16"/>
                  </a:lnTo>
                  <a:lnTo>
                    <a:pt x="3296" y="13"/>
                  </a:lnTo>
                  <a:lnTo>
                    <a:pt x="3299" y="11"/>
                  </a:lnTo>
                  <a:lnTo>
                    <a:pt x="3304" y="10"/>
                  </a:lnTo>
                  <a:lnTo>
                    <a:pt x="3355" y="10"/>
                  </a:lnTo>
                  <a:lnTo>
                    <a:pt x="3364" y="13"/>
                  </a:lnTo>
                  <a:lnTo>
                    <a:pt x="3365" y="16"/>
                  </a:lnTo>
                  <a:lnTo>
                    <a:pt x="3366" y="23"/>
                  </a:lnTo>
                  <a:lnTo>
                    <a:pt x="3366" y="600"/>
                  </a:lnTo>
                  <a:lnTo>
                    <a:pt x="3364" y="610"/>
                  </a:lnTo>
                  <a:lnTo>
                    <a:pt x="3360" y="612"/>
                  </a:lnTo>
                  <a:lnTo>
                    <a:pt x="3355" y="612"/>
                  </a:lnTo>
                  <a:lnTo>
                    <a:pt x="3304" y="612"/>
                  </a:lnTo>
                  <a:lnTo>
                    <a:pt x="3300" y="612"/>
                  </a:lnTo>
                  <a:lnTo>
                    <a:pt x="3296" y="610"/>
                  </a:lnTo>
                  <a:lnTo>
                    <a:pt x="3293" y="607"/>
                  </a:lnTo>
                  <a:lnTo>
                    <a:pt x="3293" y="600"/>
                  </a:lnTo>
                  <a:lnTo>
                    <a:pt x="3293" y="561"/>
                  </a:lnTo>
                  <a:lnTo>
                    <a:pt x="3279" y="576"/>
                  </a:lnTo>
                  <a:lnTo>
                    <a:pt x="3266" y="590"/>
                  </a:lnTo>
                  <a:lnTo>
                    <a:pt x="3252" y="599"/>
                  </a:lnTo>
                  <a:lnTo>
                    <a:pt x="3238" y="608"/>
                  </a:lnTo>
                  <a:lnTo>
                    <a:pt x="3210" y="617"/>
                  </a:lnTo>
                  <a:lnTo>
                    <a:pt x="3183" y="619"/>
                  </a:lnTo>
                  <a:lnTo>
                    <a:pt x="3160" y="619"/>
                  </a:lnTo>
                  <a:lnTo>
                    <a:pt x="3140" y="617"/>
                  </a:lnTo>
                  <a:lnTo>
                    <a:pt x="3121" y="613"/>
                  </a:lnTo>
                  <a:lnTo>
                    <a:pt x="3105" y="608"/>
                  </a:lnTo>
                  <a:lnTo>
                    <a:pt x="3090" y="600"/>
                  </a:lnTo>
                  <a:lnTo>
                    <a:pt x="3078" y="592"/>
                  </a:lnTo>
                  <a:lnTo>
                    <a:pt x="3067" y="582"/>
                  </a:lnTo>
                  <a:lnTo>
                    <a:pt x="3059" y="569"/>
                  </a:lnTo>
                  <a:lnTo>
                    <a:pt x="3050" y="554"/>
                  </a:lnTo>
                  <a:lnTo>
                    <a:pt x="3045" y="537"/>
                  </a:lnTo>
                  <a:lnTo>
                    <a:pt x="3036" y="499"/>
                  </a:lnTo>
                  <a:lnTo>
                    <a:pt x="3031" y="450"/>
                  </a:lnTo>
                  <a:lnTo>
                    <a:pt x="3030" y="393"/>
                  </a:lnTo>
                  <a:lnTo>
                    <a:pt x="3033" y="332"/>
                  </a:lnTo>
                  <a:lnTo>
                    <a:pt x="3036" y="307"/>
                  </a:lnTo>
                  <a:lnTo>
                    <a:pt x="3040" y="284"/>
                  </a:lnTo>
                  <a:lnTo>
                    <a:pt x="3045" y="263"/>
                  </a:lnTo>
                  <a:lnTo>
                    <a:pt x="3051" y="245"/>
                  </a:lnTo>
                  <a:lnTo>
                    <a:pt x="3059" y="229"/>
                  </a:lnTo>
                  <a:lnTo>
                    <a:pt x="3068" y="216"/>
                  </a:lnTo>
                  <a:lnTo>
                    <a:pt x="3080" y="205"/>
                  </a:lnTo>
                  <a:lnTo>
                    <a:pt x="3091" y="196"/>
                  </a:lnTo>
                  <a:lnTo>
                    <a:pt x="3105" y="188"/>
                  </a:lnTo>
                  <a:lnTo>
                    <a:pt x="3121" y="182"/>
                  </a:lnTo>
                  <a:lnTo>
                    <a:pt x="3155" y="175"/>
                  </a:lnTo>
                  <a:lnTo>
                    <a:pt x="3198" y="173"/>
                  </a:lnTo>
                  <a:lnTo>
                    <a:pt x="3214" y="174"/>
                  </a:lnTo>
                  <a:lnTo>
                    <a:pt x="3228" y="176"/>
                  </a:lnTo>
                  <a:lnTo>
                    <a:pt x="3240" y="179"/>
                  </a:lnTo>
                  <a:lnTo>
                    <a:pt x="3252" y="184"/>
                  </a:lnTo>
                  <a:lnTo>
                    <a:pt x="3272" y="198"/>
                  </a:lnTo>
                  <a:lnTo>
                    <a:pt x="3282" y="207"/>
                  </a:lnTo>
                  <a:lnTo>
                    <a:pt x="3293" y="219"/>
                  </a:lnTo>
                  <a:close/>
                  <a:moveTo>
                    <a:pt x="2690" y="347"/>
                  </a:moveTo>
                  <a:lnTo>
                    <a:pt x="2869" y="347"/>
                  </a:lnTo>
                  <a:lnTo>
                    <a:pt x="2868" y="316"/>
                  </a:lnTo>
                  <a:lnTo>
                    <a:pt x="2864" y="291"/>
                  </a:lnTo>
                  <a:lnTo>
                    <a:pt x="2857" y="271"/>
                  </a:lnTo>
                  <a:lnTo>
                    <a:pt x="2853" y="263"/>
                  </a:lnTo>
                  <a:lnTo>
                    <a:pt x="2848" y="255"/>
                  </a:lnTo>
                  <a:lnTo>
                    <a:pt x="2841" y="250"/>
                  </a:lnTo>
                  <a:lnTo>
                    <a:pt x="2835" y="245"/>
                  </a:lnTo>
                  <a:lnTo>
                    <a:pt x="2819" y="238"/>
                  </a:lnTo>
                  <a:lnTo>
                    <a:pt x="2799" y="234"/>
                  </a:lnTo>
                  <a:lnTo>
                    <a:pt x="2775" y="233"/>
                  </a:lnTo>
                  <a:lnTo>
                    <a:pt x="2753" y="234"/>
                  </a:lnTo>
                  <a:lnTo>
                    <a:pt x="2734" y="239"/>
                  </a:lnTo>
                  <a:lnTo>
                    <a:pt x="2720" y="245"/>
                  </a:lnTo>
                  <a:lnTo>
                    <a:pt x="2709" y="256"/>
                  </a:lnTo>
                  <a:lnTo>
                    <a:pt x="2701" y="271"/>
                  </a:lnTo>
                  <a:lnTo>
                    <a:pt x="2696" y="291"/>
                  </a:lnTo>
                  <a:lnTo>
                    <a:pt x="2692" y="316"/>
                  </a:lnTo>
                  <a:lnTo>
                    <a:pt x="2690" y="347"/>
                  </a:lnTo>
                  <a:close/>
                  <a:moveTo>
                    <a:pt x="2690" y="412"/>
                  </a:moveTo>
                  <a:lnTo>
                    <a:pt x="2691" y="453"/>
                  </a:lnTo>
                  <a:lnTo>
                    <a:pt x="2692" y="470"/>
                  </a:lnTo>
                  <a:lnTo>
                    <a:pt x="2695" y="486"/>
                  </a:lnTo>
                  <a:lnTo>
                    <a:pt x="2700" y="511"/>
                  </a:lnTo>
                  <a:lnTo>
                    <a:pt x="2709" y="531"/>
                  </a:lnTo>
                  <a:lnTo>
                    <a:pt x="2714" y="539"/>
                  </a:lnTo>
                  <a:lnTo>
                    <a:pt x="2722" y="545"/>
                  </a:lnTo>
                  <a:lnTo>
                    <a:pt x="2730" y="549"/>
                  </a:lnTo>
                  <a:lnTo>
                    <a:pt x="2740" y="553"/>
                  </a:lnTo>
                  <a:lnTo>
                    <a:pt x="2762" y="557"/>
                  </a:lnTo>
                  <a:lnTo>
                    <a:pt x="2791" y="558"/>
                  </a:lnTo>
                  <a:lnTo>
                    <a:pt x="2811" y="558"/>
                  </a:lnTo>
                  <a:lnTo>
                    <a:pt x="2827" y="556"/>
                  </a:lnTo>
                  <a:lnTo>
                    <a:pt x="2840" y="552"/>
                  </a:lnTo>
                  <a:lnTo>
                    <a:pt x="2851" y="546"/>
                  </a:lnTo>
                  <a:lnTo>
                    <a:pt x="2859" y="539"/>
                  </a:lnTo>
                  <a:lnTo>
                    <a:pt x="2867" y="528"/>
                  </a:lnTo>
                  <a:lnTo>
                    <a:pt x="2878" y="500"/>
                  </a:lnTo>
                  <a:lnTo>
                    <a:pt x="2880" y="493"/>
                  </a:lnTo>
                  <a:lnTo>
                    <a:pt x="2883" y="489"/>
                  </a:lnTo>
                  <a:lnTo>
                    <a:pt x="2889" y="488"/>
                  </a:lnTo>
                  <a:lnTo>
                    <a:pt x="2895" y="488"/>
                  </a:lnTo>
                  <a:lnTo>
                    <a:pt x="2933" y="495"/>
                  </a:lnTo>
                  <a:lnTo>
                    <a:pt x="2939" y="496"/>
                  </a:lnTo>
                  <a:lnTo>
                    <a:pt x="2943" y="500"/>
                  </a:lnTo>
                  <a:lnTo>
                    <a:pt x="2945" y="505"/>
                  </a:lnTo>
                  <a:lnTo>
                    <a:pt x="2945" y="511"/>
                  </a:lnTo>
                  <a:lnTo>
                    <a:pt x="2939" y="533"/>
                  </a:lnTo>
                  <a:lnTo>
                    <a:pt x="2931" y="553"/>
                  </a:lnTo>
                  <a:lnTo>
                    <a:pt x="2920" y="571"/>
                  </a:lnTo>
                  <a:lnTo>
                    <a:pt x="2913" y="579"/>
                  </a:lnTo>
                  <a:lnTo>
                    <a:pt x="2904" y="588"/>
                  </a:lnTo>
                  <a:lnTo>
                    <a:pt x="2885" y="600"/>
                  </a:lnTo>
                  <a:lnTo>
                    <a:pt x="2858" y="611"/>
                  </a:lnTo>
                  <a:lnTo>
                    <a:pt x="2843" y="615"/>
                  </a:lnTo>
                  <a:lnTo>
                    <a:pt x="2826" y="617"/>
                  </a:lnTo>
                  <a:lnTo>
                    <a:pt x="2785" y="619"/>
                  </a:lnTo>
                  <a:lnTo>
                    <a:pt x="2739" y="617"/>
                  </a:lnTo>
                  <a:lnTo>
                    <a:pt x="2702" y="610"/>
                  </a:lnTo>
                  <a:lnTo>
                    <a:pt x="2686" y="604"/>
                  </a:lnTo>
                  <a:lnTo>
                    <a:pt x="2672" y="595"/>
                  </a:lnTo>
                  <a:lnTo>
                    <a:pt x="2661" y="586"/>
                  </a:lnTo>
                  <a:lnTo>
                    <a:pt x="2650" y="574"/>
                  </a:lnTo>
                  <a:lnTo>
                    <a:pt x="2642" y="561"/>
                  </a:lnTo>
                  <a:lnTo>
                    <a:pt x="2636" y="544"/>
                  </a:lnTo>
                  <a:lnTo>
                    <a:pt x="2625" y="505"/>
                  </a:lnTo>
                  <a:lnTo>
                    <a:pt x="2620" y="455"/>
                  </a:lnTo>
                  <a:lnTo>
                    <a:pt x="2618" y="393"/>
                  </a:lnTo>
                  <a:lnTo>
                    <a:pt x="2621" y="332"/>
                  </a:lnTo>
                  <a:lnTo>
                    <a:pt x="2623" y="307"/>
                  </a:lnTo>
                  <a:lnTo>
                    <a:pt x="2627" y="284"/>
                  </a:lnTo>
                  <a:lnTo>
                    <a:pt x="2633" y="263"/>
                  </a:lnTo>
                  <a:lnTo>
                    <a:pt x="2639" y="245"/>
                  </a:lnTo>
                  <a:lnTo>
                    <a:pt x="2646" y="229"/>
                  </a:lnTo>
                  <a:lnTo>
                    <a:pt x="2656" y="216"/>
                  </a:lnTo>
                  <a:lnTo>
                    <a:pt x="2666" y="205"/>
                  </a:lnTo>
                  <a:lnTo>
                    <a:pt x="2679" y="196"/>
                  </a:lnTo>
                  <a:lnTo>
                    <a:pt x="2692" y="188"/>
                  </a:lnTo>
                  <a:lnTo>
                    <a:pt x="2707" y="182"/>
                  </a:lnTo>
                  <a:lnTo>
                    <a:pt x="2743" y="175"/>
                  </a:lnTo>
                  <a:lnTo>
                    <a:pt x="2785" y="173"/>
                  </a:lnTo>
                  <a:lnTo>
                    <a:pt x="2809" y="174"/>
                  </a:lnTo>
                  <a:lnTo>
                    <a:pt x="2830" y="176"/>
                  </a:lnTo>
                  <a:lnTo>
                    <a:pt x="2849" y="179"/>
                  </a:lnTo>
                  <a:lnTo>
                    <a:pt x="2866" y="184"/>
                  </a:lnTo>
                  <a:lnTo>
                    <a:pt x="2880" y="191"/>
                  </a:lnTo>
                  <a:lnTo>
                    <a:pt x="2893" y="200"/>
                  </a:lnTo>
                  <a:lnTo>
                    <a:pt x="2903" y="209"/>
                  </a:lnTo>
                  <a:lnTo>
                    <a:pt x="2913" y="221"/>
                  </a:lnTo>
                  <a:lnTo>
                    <a:pt x="2921" y="233"/>
                  </a:lnTo>
                  <a:lnTo>
                    <a:pt x="2928" y="248"/>
                  </a:lnTo>
                  <a:lnTo>
                    <a:pt x="2932" y="264"/>
                  </a:lnTo>
                  <a:lnTo>
                    <a:pt x="2936" y="281"/>
                  </a:lnTo>
                  <a:lnTo>
                    <a:pt x="2939" y="301"/>
                  </a:lnTo>
                  <a:lnTo>
                    <a:pt x="2940" y="320"/>
                  </a:lnTo>
                  <a:lnTo>
                    <a:pt x="2942" y="367"/>
                  </a:lnTo>
                  <a:lnTo>
                    <a:pt x="2942" y="396"/>
                  </a:lnTo>
                  <a:lnTo>
                    <a:pt x="2941" y="403"/>
                  </a:lnTo>
                  <a:lnTo>
                    <a:pt x="2938" y="407"/>
                  </a:lnTo>
                  <a:lnTo>
                    <a:pt x="2933" y="411"/>
                  </a:lnTo>
                  <a:lnTo>
                    <a:pt x="2925" y="412"/>
                  </a:lnTo>
                  <a:lnTo>
                    <a:pt x="2690" y="412"/>
                  </a:lnTo>
                  <a:close/>
                  <a:moveTo>
                    <a:pt x="2358" y="250"/>
                  </a:moveTo>
                  <a:lnTo>
                    <a:pt x="2316" y="250"/>
                  </a:lnTo>
                  <a:lnTo>
                    <a:pt x="2308" y="248"/>
                  </a:lnTo>
                  <a:lnTo>
                    <a:pt x="2306" y="245"/>
                  </a:lnTo>
                  <a:lnTo>
                    <a:pt x="2305" y="241"/>
                  </a:lnTo>
                  <a:lnTo>
                    <a:pt x="2305" y="196"/>
                  </a:lnTo>
                  <a:lnTo>
                    <a:pt x="2308" y="188"/>
                  </a:lnTo>
                  <a:lnTo>
                    <a:pt x="2316" y="186"/>
                  </a:lnTo>
                  <a:lnTo>
                    <a:pt x="2361" y="186"/>
                  </a:lnTo>
                  <a:lnTo>
                    <a:pt x="2381" y="79"/>
                  </a:lnTo>
                  <a:lnTo>
                    <a:pt x="2385" y="69"/>
                  </a:lnTo>
                  <a:lnTo>
                    <a:pt x="2393" y="66"/>
                  </a:lnTo>
                  <a:lnTo>
                    <a:pt x="2420" y="66"/>
                  </a:lnTo>
                  <a:lnTo>
                    <a:pt x="2425" y="67"/>
                  </a:lnTo>
                  <a:lnTo>
                    <a:pt x="2429" y="69"/>
                  </a:lnTo>
                  <a:lnTo>
                    <a:pt x="2431" y="73"/>
                  </a:lnTo>
                  <a:lnTo>
                    <a:pt x="2431" y="79"/>
                  </a:lnTo>
                  <a:lnTo>
                    <a:pt x="2431" y="186"/>
                  </a:lnTo>
                  <a:lnTo>
                    <a:pt x="2534" y="186"/>
                  </a:lnTo>
                  <a:lnTo>
                    <a:pt x="2538" y="186"/>
                  </a:lnTo>
                  <a:lnTo>
                    <a:pt x="2540" y="188"/>
                  </a:lnTo>
                  <a:lnTo>
                    <a:pt x="2542" y="196"/>
                  </a:lnTo>
                  <a:lnTo>
                    <a:pt x="2542" y="241"/>
                  </a:lnTo>
                  <a:lnTo>
                    <a:pt x="2540" y="248"/>
                  </a:lnTo>
                  <a:lnTo>
                    <a:pt x="2534" y="250"/>
                  </a:lnTo>
                  <a:lnTo>
                    <a:pt x="2431" y="250"/>
                  </a:lnTo>
                  <a:lnTo>
                    <a:pt x="2431" y="512"/>
                  </a:lnTo>
                  <a:lnTo>
                    <a:pt x="2432" y="523"/>
                  </a:lnTo>
                  <a:lnTo>
                    <a:pt x="2434" y="532"/>
                  </a:lnTo>
                  <a:lnTo>
                    <a:pt x="2437" y="540"/>
                  </a:lnTo>
                  <a:lnTo>
                    <a:pt x="2444" y="545"/>
                  </a:lnTo>
                  <a:lnTo>
                    <a:pt x="2459" y="552"/>
                  </a:lnTo>
                  <a:lnTo>
                    <a:pt x="2482" y="554"/>
                  </a:lnTo>
                  <a:lnTo>
                    <a:pt x="2542" y="550"/>
                  </a:lnTo>
                  <a:lnTo>
                    <a:pt x="2547" y="550"/>
                  </a:lnTo>
                  <a:lnTo>
                    <a:pt x="2549" y="552"/>
                  </a:lnTo>
                  <a:lnTo>
                    <a:pt x="2552" y="558"/>
                  </a:lnTo>
                  <a:lnTo>
                    <a:pt x="2552" y="599"/>
                  </a:lnTo>
                  <a:lnTo>
                    <a:pt x="2551" y="604"/>
                  </a:lnTo>
                  <a:lnTo>
                    <a:pt x="2549" y="608"/>
                  </a:lnTo>
                  <a:lnTo>
                    <a:pt x="2541" y="612"/>
                  </a:lnTo>
                  <a:lnTo>
                    <a:pt x="2514" y="614"/>
                  </a:lnTo>
                  <a:lnTo>
                    <a:pt x="2482" y="616"/>
                  </a:lnTo>
                  <a:lnTo>
                    <a:pt x="2456" y="615"/>
                  </a:lnTo>
                  <a:lnTo>
                    <a:pt x="2432" y="612"/>
                  </a:lnTo>
                  <a:lnTo>
                    <a:pt x="2411" y="607"/>
                  </a:lnTo>
                  <a:lnTo>
                    <a:pt x="2402" y="603"/>
                  </a:lnTo>
                  <a:lnTo>
                    <a:pt x="2393" y="597"/>
                  </a:lnTo>
                  <a:lnTo>
                    <a:pt x="2378" y="585"/>
                  </a:lnTo>
                  <a:lnTo>
                    <a:pt x="2367" y="566"/>
                  </a:lnTo>
                  <a:lnTo>
                    <a:pt x="2360" y="542"/>
                  </a:lnTo>
                  <a:lnTo>
                    <a:pt x="2358" y="526"/>
                  </a:lnTo>
                  <a:lnTo>
                    <a:pt x="2358" y="510"/>
                  </a:lnTo>
                  <a:lnTo>
                    <a:pt x="2358" y="250"/>
                  </a:lnTo>
                  <a:close/>
                  <a:moveTo>
                    <a:pt x="2152" y="506"/>
                  </a:moveTo>
                  <a:lnTo>
                    <a:pt x="2152" y="416"/>
                  </a:lnTo>
                  <a:lnTo>
                    <a:pt x="2046" y="416"/>
                  </a:lnTo>
                  <a:lnTo>
                    <a:pt x="2026" y="417"/>
                  </a:lnTo>
                  <a:lnTo>
                    <a:pt x="2009" y="421"/>
                  </a:lnTo>
                  <a:lnTo>
                    <a:pt x="1998" y="428"/>
                  </a:lnTo>
                  <a:lnTo>
                    <a:pt x="1992" y="433"/>
                  </a:lnTo>
                  <a:lnTo>
                    <a:pt x="1988" y="437"/>
                  </a:lnTo>
                  <a:lnTo>
                    <a:pt x="1983" y="448"/>
                  </a:lnTo>
                  <a:lnTo>
                    <a:pt x="1979" y="461"/>
                  </a:lnTo>
                  <a:lnTo>
                    <a:pt x="1977" y="476"/>
                  </a:lnTo>
                  <a:lnTo>
                    <a:pt x="1977" y="492"/>
                  </a:lnTo>
                  <a:lnTo>
                    <a:pt x="1978" y="508"/>
                  </a:lnTo>
                  <a:lnTo>
                    <a:pt x="1980" y="522"/>
                  </a:lnTo>
                  <a:lnTo>
                    <a:pt x="1985" y="533"/>
                  </a:lnTo>
                  <a:lnTo>
                    <a:pt x="1991" y="542"/>
                  </a:lnTo>
                  <a:lnTo>
                    <a:pt x="2002" y="548"/>
                  </a:lnTo>
                  <a:lnTo>
                    <a:pt x="2014" y="553"/>
                  </a:lnTo>
                  <a:lnTo>
                    <a:pt x="2031" y="555"/>
                  </a:lnTo>
                  <a:lnTo>
                    <a:pt x="2051" y="556"/>
                  </a:lnTo>
                  <a:lnTo>
                    <a:pt x="2078" y="553"/>
                  </a:lnTo>
                  <a:lnTo>
                    <a:pt x="2103" y="545"/>
                  </a:lnTo>
                  <a:lnTo>
                    <a:pt x="2127" y="529"/>
                  </a:lnTo>
                  <a:lnTo>
                    <a:pt x="2152" y="506"/>
                  </a:lnTo>
                  <a:close/>
                  <a:moveTo>
                    <a:pt x="2184" y="617"/>
                  </a:moveTo>
                  <a:lnTo>
                    <a:pt x="2179" y="617"/>
                  </a:lnTo>
                  <a:lnTo>
                    <a:pt x="2174" y="615"/>
                  </a:lnTo>
                  <a:lnTo>
                    <a:pt x="2167" y="605"/>
                  </a:lnTo>
                  <a:lnTo>
                    <a:pt x="2160" y="586"/>
                  </a:lnTo>
                  <a:lnTo>
                    <a:pt x="2156" y="563"/>
                  </a:lnTo>
                  <a:lnTo>
                    <a:pt x="2144" y="575"/>
                  </a:lnTo>
                  <a:lnTo>
                    <a:pt x="2132" y="586"/>
                  </a:lnTo>
                  <a:lnTo>
                    <a:pt x="2118" y="596"/>
                  </a:lnTo>
                  <a:lnTo>
                    <a:pt x="2104" y="604"/>
                  </a:lnTo>
                  <a:lnTo>
                    <a:pt x="2089" y="610"/>
                  </a:lnTo>
                  <a:lnTo>
                    <a:pt x="2072" y="614"/>
                  </a:lnTo>
                  <a:lnTo>
                    <a:pt x="2037" y="618"/>
                  </a:lnTo>
                  <a:lnTo>
                    <a:pt x="2006" y="616"/>
                  </a:lnTo>
                  <a:lnTo>
                    <a:pt x="1979" y="612"/>
                  </a:lnTo>
                  <a:lnTo>
                    <a:pt x="1956" y="604"/>
                  </a:lnTo>
                  <a:lnTo>
                    <a:pt x="1945" y="598"/>
                  </a:lnTo>
                  <a:lnTo>
                    <a:pt x="1937" y="592"/>
                  </a:lnTo>
                  <a:lnTo>
                    <a:pt x="1922" y="575"/>
                  </a:lnTo>
                  <a:lnTo>
                    <a:pt x="1911" y="553"/>
                  </a:lnTo>
                  <a:lnTo>
                    <a:pt x="1907" y="541"/>
                  </a:lnTo>
                  <a:lnTo>
                    <a:pt x="1904" y="526"/>
                  </a:lnTo>
                  <a:lnTo>
                    <a:pt x="1902" y="493"/>
                  </a:lnTo>
                  <a:lnTo>
                    <a:pt x="1904" y="464"/>
                  </a:lnTo>
                  <a:lnTo>
                    <a:pt x="1910" y="437"/>
                  </a:lnTo>
                  <a:lnTo>
                    <a:pt x="1915" y="425"/>
                  </a:lnTo>
                  <a:lnTo>
                    <a:pt x="1920" y="414"/>
                  </a:lnTo>
                  <a:lnTo>
                    <a:pt x="1926" y="403"/>
                  </a:lnTo>
                  <a:lnTo>
                    <a:pt x="1935" y="394"/>
                  </a:lnTo>
                  <a:lnTo>
                    <a:pt x="1944" y="385"/>
                  </a:lnTo>
                  <a:lnTo>
                    <a:pt x="1953" y="378"/>
                  </a:lnTo>
                  <a:lnTo>
                    <a:pt x="1978" y="366"/>
                  </a:lnTo>
                  <a:lnTo>
                    <a:pt x="2008" y="358"/>
                  </a:lnTo>
                  <a:lnTo>
                    <a:pt x="2025" y="356"/>
                  </a:lnTo>
                  <a:lnTo>
                    <a:pt x="2044" y="356"/>
                  </a:lnTo>
                  <a:lnTo>
                    <a:pt x="2152" y="356"/>
                  </a:lnTo>
                  <a:lnTo>
                    <a:pt x="2152" y="317"/>
                  </a:lnTo>
                  <a:lnTo>
                    <a:pt x="2150" y="278"/>
                  </a:lnTo>
                  <a:lnTo>
                    <a:pt x="2146" y="264"/>
                  </a:lnTo>
                  <a:lnTo>
                    <a:pt x="2139" y="252"/>
                  </a:lnTo>
                  <a:lnTo>
                    <a:pt x="2130" y="244"/>
                  </a:lnTo>
                  <a:lnTo>
                    <a:pt x="2116" y="238"/>
                  </a:lnTo>
                  <a:lnTo>
                    <a:pt x="2099" y="234"/>
                  </a:lnTo>
                  <a:lnTo>
                    <a:pt x="2077" y="233"/>
                  </a:lnTo>
                  <a:lnTo>
                    <a:pt x="2055" y="233"/>
                  </a:lnTo>
                  <a:lnTo>
                    <a:pt x="2037" y="235"/>
                  </a:lnTo>
                  <a:lnTo>
                    <a:pt x="2024" y="239"/>
                  </a:lnTo>
                  <a:lnTo>
                    <a:pt x="2013" y="244"/>
                  </a:lnTo>
                  <a:lnTo>
                    <a:pt x="2006" y="252"/>
                  </a:lnTo>
                  <a:lnTo>
                    <a:pt x="2000" y="263"/>
                  </a:lnTo>
                  <a:lnTo>
                    <a:pt x="1991" y="295"/>
                  </a:lnTo>
                  <a:lnTo>
                    <a:pt x="1985" y="304"/>
                  </a:lnTo>
                  <a:lnTo>
                    <a:pt x="1981" y="306"/>
                  </a:lnTo>
                  <a:lnTo>
                    <a:pt x="1975" y="306"/>
                  </a:lnTo>
                  <a:lnTo>
                    <a:pt x="1932" y="301"/>
                  </a:lnTo>
                  <a:lnTo>
                    <a:pt x="1928" y="299"/>
                  </a:lnTo>
                  <a:lnTo>
                    <a:pt x="1925" y="296"/>
                  </a:lnTo>
                  <a:lnTo>
                    <a:pt x="1923" y="290"/>
                  </a:lnTo>
                  <a:lnTo>
                    <a:pt x="1924" y="283"/>
                  </a:lnTo>
                  <a:lnTo>
                    <a:pt x="1930" y="254"/>
                  </a:lnTo>
                  <a:lnTo>
                    <a:pt x="1935" y="243"/>
                  </a:lnTo>
                  <a:lnTo>
                    <a:pt x="1940" y="231"/>
                  </a:lnTo>
                  <a:lnTo>
                    <a:pt x="1945" y="221"/>
                  </a:lnTo>
                  <a:lnTo>
                    <a:pt x="1952" y="212"/>
                  </a:lnTo>
                  <a:lnTo>
                    <a:pt x="1968" y="197"/>
                  </a:lnTo>
                  <a:lnTo>
                    <a:pt x="1979" y="191"/>
                  </a:lnTo>
                  <a:lnTo>
                    <a:pt x="1989" y="186"/>
                  </a:lnTo>
                  <a:lnTo>
                    <a:pt x="2015" y="178"/>
                  </a:lnTo>
                  <a:lnTo>
                    <a:pt x="2047" y="174"/>
                  </a:lnTo>
                  <a:lnTo>
                    <a:pt x="2085" y="173"/>
                  </a:lnTo>
                  <a:lnTo>
                    <a:pt x="2121" y="175"/>
                  </a:lnTo>
                  <a:lnTo>
                    <a:pt x="2137" y="177"/>
                  </a:lnTo>
                  <a:lnTo>
                    <a:pt x="2152" y="180"/>
                  </a:lnTo>
                  <a:lnTo>
                    <a:pt x="2176" y="190"/>
                  </a:lnTo>
                  <a:lnTo>
                    <a:pt x="2186" y="198"/>
                  </a:lnTo>
                  <a:lnTo>
                    <a:pt x="2196" y="205"/>
                  </a:lnTo>
                  <a:lnTo>
                    <a:pt x="2210" y="224"/>
                  </a:lnTo>
                  <a:lnTo>
                    <a:pt x="2215" y="235"/>
                  </a:lnTo>
                  <a:lnTo>
                    <a:pt x="2220" y="249"/>
                  </a:lnTo>
                  <a:lnTo>
                    <a:pt x="2225" y="278"/>
                  </a:lnTo>
                  <a:lnTo>
                    <a:pt x="2227" y="313"/>
                  </a:lnTo>
                  <a:lnTo>
                    <a:pt x="2227" y="498"/>
                  </a:lnTo>
                  <a:lnTo>
                    <a:pt x="2227" y="519"/>
                  </a:lnTo>
                  <a:lnTo>
                    <a:pt x="2230" y="537"/>
                  </a:lnTo>
                  <a:lnTo>
                    <a:pt x="2234" y="558"/>
                  </a:lnTo>
                  <a:lnTo>
                    <a:pt x="2241" y="583"/>
                  </a:lnTo>
                  <a:lnTo>
                    <a:pt x="2243" y="596"/>
                  </a:lnTo>
                  <a:lnTo>
                    <a:pt x="2241" y="600"/>
                  </a:lnTo>
                  <a:lnTo>
                    <a:pt x="2237" y="604"/>
                  </a:lnTo>
                  <a:lnTo>
                    <a:pt x="2184" y="617"/>
                  </a:lnTo>
                  <a:close/>
                  <a:moveTo>
                    <a:pt x="1577" y="390"/>
                  </a:moveTo>
                  <a:lnTo>
                    <a:pt x="1578" y="438"/>
                  </a:lnTo>
                  <a:lnTo>
                    <a:pt x="1580" y="476"/>
                  </a:lnTo>
                  <a:lnTo>
                    <a:pt x="1585" y="505"/>
                  </a:lnTo>
                  <a:lnTo>
                    <a:pt x="1593" y="527"/>
                  </a:lnTo>
                  <a:lnTo>
                    <a:pt x="1599" y="535"/>
                  </a:lnTo>
                  <a:lnTo>
                    <a:pt x="1606" y="543"/>
                  </a:lnTo>
                  <a:lnTo>
                    <a:pt x="1614" y="548"/>
                  </a:lnTo>
                  <a:lnTo>
                    <a:pt x="1624" y="552"/>
                  </a:lnTo>
                  <a:lnTo>
                    <a:pt x="1647" y="557"/>
                  </a:lnTo>
                  <a:lnTo>
                    <a:pt x="1677" y="558"/>
                  </a:lnTo>
                  <a:lnTo>
                    <a:pt x="1697" y="558"/>
                  </a:lnTo>
                  <a:lnTo>
                    <a:pt x="1713" y="556"/>
                  </a:lnTo>
                  <a:lnTo>
                    <a:pt x="1727" y="552"/>
                  </a:lnTo>
                  <a:lnTo>
                    <a:pt x="1737" y="546"/>
                  </a:lnTo>
                  <a:lnTo>
                    <a:pt x="1746" y="539"/>
                  </a:lnTo>
                  <a:lnTo>
                    <a:pt x="1753" y="528"/>
                  </a:lnTo>
                  <a:lnTo>
                    <a:pt x="1765" y="500"/>
                  </a:lnTo>
                  <a:lnTo>
                    <a:pt x="1767" y="493"/>
                  </a:lnTo>
                  <a:lnTo>
                    <a:pt x="1771" y="489"/>
                  </a:lnTo>
                  <a:lnTo>
                    <a:pt x="1775" y="488"/>
                  </a:lnTo>
                  <a:lnTo>
                    <a:pt x="1781" y="488"/>
                  </a:lnTo>
                  <a:lnTo>
                    <a:pt x="1819" y="495"/>
                  </a:lnTo>
                  <a:lnTo>
                    <a:pt x="1825" y="496"/>
                  </a:lnTo>
                  <a:lnTo>
                    <a:pt x="1831" y="500"/>
                  </a:lnTo>
                  <a:lnTo>
                    <a:pt x="1833" y="505"/>
                  </a:lnTo>
                  <a:lnTo>
                    <a:pt x="1832" y="511"/>
                  </a:lnTo>
                  <a:lnTo>
                    <a:pt x="1826" y="533"/>
                  </a:lnTo>
                  <a:lnTo>
                    <a:pt x="1818" y="553"/>
                  </a:lnTo>
                  <a:lnTo>
                    <a:pt x="1806" y="571"/>
                  </a:lnTo>
                  <a:lnTo>
                    <a:pt x="1799" y="579"/>
                  </a:lnTo>
                  <a:lnTo>
                    <a:pt x="1791" y="588"/>
                  </a:lnTo>
                  <a:lnTo>
                    <a:pt x="1771" y="600"/>
                  </a:lnTo>
                  <a:lnTo>
                    <a:pt x="1745" y="611"/>
                  </a:lnTo>
                  <a:lnTo>
                    <a:pt x="1729" y="615"/>
                  </a:lnTo>
                  <a:lnTo>
                    <a:pt x="1712" y="617"/>
                  </a:lnTo>
                  <a:lnTo>
                    <a:pt x="1672" y="619"/>
                  </a:lnTo>
                  <a:lnTo>
                    <a:pt x="1626" y="617"/>
                  </a:lnTo>
                  <a:lnTo>
                    <a:pt x="1588" y="610"/>
                  </a:lnTo>
                  <a:lnTo>
                    <a:pt x="1572" y="604"/>
                  </a:lnTo>
                  <a:lnTo>
                    <a:pt x="1560" y="595"/>
                  </a:lnTo>
                  <a:lnTo>
                    <a:pt x="1547" y="586"/>
                  </a:lnTo>
                  <a:lnTo>
                    <a:pt x="1538" y="574"/>
                  </a:lnTo>
                  <a:lnTo>
                    <a:pt x="1529" y="561"/>
                  </a:lnTo>
                  <a:lnTo>
                    <a:pt x="1522" y="544"/>
                  </a:lnTo>
                  <a:lnTo>
                    <a:pt x="1512" y="505"/>
                  </a:lnTo>
                  <a:lnTo>
                    <a:pt x="1506" y="455"/>
                  </a:lnTo>
                  <a:lnTo>
                    <a:pt x="1505" y="393"/>
                  </a:lnTo>
                  <a:lnTo>
                    <a:pt x="1507" y="332"/>
                  </a:lnTo>
                  <a:lnTo>
                    <a:pt x="1509" y="307"/>
                  </a:lnTo>
                  <a:lnTo>
                    <a:pt x="1514" y="284"/>
                  </a:lnTo>
                  <a:lnTo>
                    <a:pt x="1519" y="263"/>
                  </a:lnTo>
                  <a:lnTo>
                    <a:pt x="1525" y="245"/>
                  </a:lnTo>
                  <a:lnTo>
                    <a:pt x="1534" y="229"/>
                  </a:lnTo>
                  <a:lnTo>
                    <a:pt x="1542" y="216"/>
                  </a:lnTo>
                  <a:lnTo>
                    <a:pt x="1554" y="205"/>
                  </a:lnTo>
                  <a:lnTo>
                    <a:pt x="1565" y="196"/>
                  </a:lnTo>
                  <a:lnTo>
                    <a:pt x="1579" y="188"/>
                  </a:lnTo>
                  <a:lnTo>
                    <a:pt x="1594" y="182"/>
                  </a:lnTo>
                  <a:lnTo>
                    <a:pt x="1629" y="175"/>
                  </a:lnTo>
                  <a:lnTo>
                    <a:pt x="1672" y="173"/>
                  </a:lnTo>
                  <a:lnTo>
                    <a:pt x="1708" y="174"/>
                  </a:lnTo>
                  <a:lnTo>
                    <a:pt x="1738" y="178"/>
                  </a:lnTo>
                  <a:lnTo>
                    <a:pt x="1763" y="185"/>
                  </a:lnTo>
                  <a:lnTo>
                    <a:pt x="1783" y="197"/>
                  </a:lnTo>
                  <a:lnTo>
                    <a:pt x="1800" y="211"/>
                  </a:lnTo>
                  <a:lnTo>
                    <a:pt x="1808" y="220"/>
                  </a:lnTo>
                  <a:lnTo>
                    <a:pt x="1813" y="229"/>
                  </a:lnTo>
                  <a:lnTo>
                    <a:pt x="1818" y="241"/>
                  </a:lnTo>
                  <a:lnTo>
                    <a:pt x="1822" y="252"/>
                  </a:lnTo>
                  <a:lnTo>
                    <a:pt x="1826" y="265"/>
                  </a:lnTo>
                  <a:lnTo>
                    <a:pt x="1830" y="280"/>
                  </a:lnTo>
                  <a:lnTo>
                    <a:pt x="1830" y="287"/>
                  </a:lnTo>
                  <a:lnTo>
                    <a:pt x="1827" y="292"/>
                  </a:lnTo>
                  <a:lnTo>
                    <a:pt x="1822" y="296"/>
                  </a:lnTo>
                  <a:lnTo>
                    <a:pt x="1816" y="297"/>
                  </a:lnTo>
                  <a:lnTo>
                    <a:pt x="1777" y="303"/>
                  </a:lnTo>
                  <a:lnTo>
                    <a:pt x="1770" y="302"/>
                  </a:lnTo>
                  <a:lnTo>
                    <a:pt x="1766" y="299"/>
                  </a:lnTo>
                  <a:lnTo>
                    <a:pt x="1761" y="295"/>
                  </a:lnTo>
                  <a:lnTo>
                    <a:pt x="1759" y="290"/>
                  </a:lnTo>
                  <a:lnTo>
                    <a:pt x="1755" y="276"/>
                  </a:lnTo>
                  <a:lnTo>
                    <a:pt x="1750" y="265"/>
                  </a:lnTo>
                  <a:lnTo>
                    <a:pt x="1746" y="260"/>
                  </a:lnTo>
                  <a:lnTo>
                    <a:pt x="1742" y="254"/>
                  </a:lnTo>
                  <a:lnTo>
                    <a:pt x="1733" y="247"/>
                  </a:lnTo>
                  <a:lnTo>
                    <a:pt x="1721" y="241"/>
                  </a:lnTo>
                  <a:lnTo>
                    <a:pt x="1707" y="237"/>
                  </a:lnTo>
                  <a:lnTo>
                    <a:pt x="1688" y="234"/>
                  </a:lnTo>
                  <a:lnTo>
                    <a:pt x="1666" y="233"/>
                  </a:lnTo>
                  <a:lnTo>
                    <a:pt x="1639" y="234"/>
                  </a:lnTo>
                  <a:lnTo>
                    <a:pt x="1618" y="240"/>
                  </a:lnTo>
                  <a:lnTo>
                    <a:pt x="1609" y="244"/>
                  </a:lnTo>
                  <a:lnTo>
                    <a:pt x="1602" y="249"/>
                  </a:lnTo>
                  <a:lnTo>
                    <a:pt x="1597" y="256"/>
                  </a:lnTo>
                  <a:lnTo>
                    <a:pt x="1591" y="264"/>
                  </a:lnTo>
                  <a:lnTo>
                    <a:pt x="1584" y="285"/>
                  </a:lnTo>
                  <a:lnTo>
                    <a:pt x="1580" y="312"/>
                  </a:lnTo>
                  <a:lnTo>
                    <a:pt x="1578" y="347"/>
                  </a:lnTo>
                  <a:lnTo>
                    <a:pt x="1577" y="390"/>
                  </a:lnTo>
                  <a:close/>
                  <a:moveTo>
                    <a:pt x="1322" y="193"/>
                  </a:moveTo>
                  <a:lnTo>
                    <a:pt x="1324" y="182"/>
                  </a:lnTo>
                  <a:lnTo>
                    <a:pt x="1327" y="180"/>
                  </a:lnTo>
                  <a:lnTo>
                    <a:pt x="1332" y="180"/>
                  </a:lnTo>
                  <a:lnTo>
                    <a:pt x="1383" y="180"/>
                  </a:lnTo>
                  <a:lnTo>
                    <a:pt x="1392" y="182"/>
                  </a:lnTo>
                  <a:lnTo>
                    <a:pt x="1395" y="193"/>
                  </a:lnTo>
                  <a:lnTo>
                    <a:pt x="1395" y="600"/>
                  </a:lnTo>
                  <a:lnTo>
                    <a:pt x="1394" y="606"/>
                  </a:lnTo>
                  <a:lnTo>
                    <a:pt x="1392" y="610"/>
                  </a:lnTo>
                  <a:lnTo>
                    <a:pt x="1389" y="612"/>
                  </a:lnTo>
                  <a:lnTo>
                    <a:pt x="1383" y="612"/>
                  </a:lnTo>
                  <a:lnTo>
                    <a:pt x="1332" y="612"/>
                  </a:lnTo>
                  <a:lnTo>
                    <a:pt x="1324" y="610"/>
                  </a:lnTo>
                  <a:lnTo>
                    <a:pt x="1322" y="606"/>
                  </a:lnTo>
                  <a:lnTo>
                    <a:pt x="1322" y="600"/>
                  </a:lnTo>
                  <a:lnTo>
                    <a:pt x="1322" y="193"/>
                  </a:lnTo>
                  <a:close/>
                  <a:moveTo>
                    <a:pt x="1396" y="102"/>
                  </a:moveTo>
                  <a:lnTo>
                    <a:pt x="1322" y="102"/>
                  </a:lnTo>
                  <a:lnTo>
                    <a:pt x="1316" y="101"/>
                  </a:lnTo>
                  <a:lnTo>
                    <a:pt x="1313" y="100"/>
                  </a:lnTo>
                  <a:lnTo>
                    <a:pt x="1311" y="92"/>
                  </a:lnTo>
                  <a:lnTo>
                    <a:pt x="1311" y="28"/>
                  </a:lnTo>
                  <a:lnTo>
                    <a:pt x="1313" y="19"/>
                  </a:lnTo>
                  <a:lnTo>
                    <a:pt x="1322" y="17"/>
                  </a:lnTo>
                  <a:lnTo>
                    <a:pt x="1396" y="17"/>
                  </a:lnTo>
                  <a:lnTo>
                    <a:pt x="1400" y="18"/>
                  </a:lnTo>
                  <a:lnTo>
                    <a:pt x="1402" y="19"/>
                  </a:lnTo>
                  <a:lnTo>
                    <a:pt x="1406" y="28"/>
                  </a:lnTo>
                  <a:lnTo>
                    <a:pt x="1406" y="92"/>
                  </a:lnTo>
                  <a:lnTo>
                    <a:pt x="1402" y="100"/>
                  </a:lnTo>
                  <a:lnTo>
                    <a:pt x="1396" y="102"/>
                  </a:lnTo>
                  <a:close/>
                  <a:moveTo>
                    <a:pt x="1124" y="297"/>
                  </a:moveTo>
                  <a:lnTo>
                    <a:pt x="1101" y="267"/>
                  </a:lnTo>
                  <a:lnTo>
                    <a:pt x="1090" y="255"/>
                  </a:lnTo>
                  <a:lnTo>
                    <a:pt x="1079" y="247"/>
                  </a:lnTo>
                  <a:lnTo>
                    <a:pt x="1068" y="241"/>
                  </a:lnTo>
                  <a:lnTo>
                    <a:pt x="1055" y="237"/>
                  </a:lnTo>
                  <a:lnTo>
                    <a:pt x="1040" y="233"/>
                  </a:lnTo>
                  <a:lnTo>
                    <a:pt x="1022" y="233"/>
                  </a:lnTo>
                  <a:lnTo>
                    <a:pt x="997" y="234"/>
                  </a:lnTo>
                  <a:lnTo>
                    <a:pt x="976" y="240"/>
                  </a:lnTo>
                  <a:lnTo>
                    <a:pt x="968" y="244"/>
                  </a:lnTo>
                  <a:lnTo>
                    <a:pt x="960" y="249"/>
                  </a:lnTo>
                  <a:lnTo>
                    <a:pt x="955" y="256"/>
                  </a:lnTo>
                  <a:lnTo>
                    <a:pt x="950" y="264"/>
                  </a:lnTo>
                  <a:lnTo>
                    <a:pt x="942" y="285"/>
                  </a:lnTo>
                  <a:lnTo>
                    <a:pt x="937" y="312"/>
                  </a:lnTo>
                  <a:lnTo>
                    <a:pt x="935" y="347"/>
                  </a:lnTo>
                  <a:lnTo>
                    <a:pt x="934" y="390"/>
                  </a:lnTo>
                  <a:lnTo>
                    <a:pt x="935" y="437"/>
                  </a:lnTo>
                  <a:lnTo>
                    <a:pt x="937" y="475"/>
                  </a:lnTo>
                  <a:lnTo>
                    <a:pt x="942" y="504"/>
                  </a:lnTo>
                  <a:lnTo>
                    <a:pt x="949" y="526"/>
                  </a:lnTo>
                  <a:lnTo>
                    <a:pt x="954" y="534"/>
                  </a:lnTo>
                  <a:lnTo>
                    <a:pt x="960" y="542"/>
                  </a:lnTo>
                  <a:lnTo>
                    <a:pt x="976" y="552"/>
                  </a:lnTo>
                  <a:lnTo>
                    <a:pt x="996" y="557"/>
                  </a:lnTo>
                  <a:lnTo>
                    <a:pt x="1022" y="558"/>
                  </a:lnTo>
                  <a:lnTo>
                    <a:pt x="1050" y="556"/>
                  </a:lnTo>
                  <a:lnTo>
                    <a:pt x="1074" y="547"/>
                  </a:lnTo>
                  <a:lnTo>
                    <a:pt x="1085" y="539"/>
                  </a:lnTo>
                  <a:lnTo>
                    <a:pt x="1097" y="528"/>
                  </a:lnTo>
                  <a:lnTo>
                    <a:pt x="1124" y="496"/>
                  </a:lnTo>
                  <a:lnTo>
                    <a:pt x="1124" y="297"/>
                  </a:lnTo>
                  <a:close/>
                  <a:moveTo>
                    <a:pt x="1124" y="219"/>
                  </a:moveTo>
                  <a:lnTo>
                    <a:pt x="1124" y="23"/>
                  </a:lnTo>
                  <a:lnTo>
                    <a:pt x="1125" y="16"/>
                  </a:lnTo>
                  <a:lnTo>
                    <a:pt x="1127" y="13"/>
                  </a:lnTo>
                  <a:lnTo>
                    <a:pt x="1132" y="11"/>
                  </a:lnTo>
                  <a:lnTo>
                    <a:pt x="1136" y="10"/>
                  </a:lnTo>
                  <a:lnTo>
                    <a:pt x="1186" y="10"/>
                  </a:lnTo>
                  <a:lnTo>
                    <a:pt x="1196" y="13"/>
                  </a:lnTo>
                  <a:lnTo>
                    <a:pt x="1198" y="16"/>
                  </a:lnTo>
                  <a:lnTo>
                    <a:pt x="1198" y="23"/>
                  </a:lnTo>
                  <a:lnTo>
                    <a:pt x="1198" y="600"/>
                  </a:lnTo>
                  <a:lnTo>
                    <a:pt x="1196" y="610"/>
                  </a:lnTo>
                  <a:lnTo>
                    <a:pt x="1192" y="612"/>
                  </a:lnTo>
                  <a:lnTo>
                    <a:pt x="1186" y="612"/>
                  </a:lnTo>
                  <a:lnTo>
                    <a:pt x="1137" y="612"/>
                  </a:lnTo>
                  <a:lnTo>
                    <a:pt x="1132" y="612"/>
                  </a:lnTo>
                  <a:lnTo>
                    <a:pt x="1127" y="610"/>
                  </a:lnTo>
                  <a:lnTo>
                    <a:pt x="1125" y="607"/>
                  </a:lnTo>
                  <a:lnTo>
                    <a:pt x="1124" y="600"/>
                  </a:lnTo>
                  <a:lnTo>
                    <a:pt x="1124" y="561"/>
                  </a:lnTo>
                  <a:lnTo>
                    <a:pt x="1112" y="576"/>
                  </a:lnTo>
                  <a:lnTo>
                    <a:pt x="1098" y="590"/>
                  </a:lnTo>
                  <a:lnTo>
                    <a:pt x="1083" y="599"/>
                  </a:lnTo>
                  <a:lnTo>
                    <a:pt x="1070" y="608"/>
                  </a:lnTo>
                  <a:lnTo>
                    <a:pt x="1041" y="617"/>
                  </a:lnTo>
                  <a:lnTo>
                    <a:pt x="1015" y="619"/>
                  </a:lnTo>
                  <a:lnTo>
                    <a:pt x="992" y="619"/>
                  </a:lnTo>
                  <a:lnTo>
                    <a:pt x="971" y="617"/>
                  </a:lnTo>
                  <a:lnTo>
                    <a:pt x="953" y="613"/>
                  </a:lnTo>
                  <a:lnTo>
                    <a:pt x="936" y="608"/>
                  </a:lnTo>
                  <a:lnTo>
                    <a:pt x="923" y="600"/>
                  </a:lnTo>
                  <a:lnTo>
                    <a:pt x="910" y="592"/>
                  </a:lnTo>
                  <a:lnTo>
                    <a:pt x="900" y="582"/>
                  </a:lnTo>
                  <a:lnTo>
                    <a:pt x="890" y="569"/>
                  </a:lnTo>
                  <a:lnTo>
                    <a:pt x="883" y="554"/>
                  </a:lnTo>
                  <a:lnTo>
                    <a:pt x="876" y="537"/>
                  </a:lnTo>
                  <a:lnTo>
                    <a:pt x="868" y="499"/>
                  </a:lnTo>
                  <a:lnTo>
                    <a:pt x="864" y="450"/>
                  </a:lnTo>
                  <a:lnTo>
                    <a:pt x="862" y="393"/>
                  </a:lnTo>
                  <a:lnTo>
                    <a:pt x="864" y="332"/>
                  </a:lnTo>
                  <a:lnTo>
                    <a:pt x="867" y="307"/>
                  </a:lnTo>
                  <a:lnTo>
                    <a:pt x="871" y="284"/>
                  </a:lnTo>
                  <a:lnTo>
                    <a:pt x="876" y="263"/>
                  </a:lnTo>
                  <a:lnTo>
                    <a:pt x="883" y="245"/>
                  </a:lnTo>
                  <a:lnTo>
                    <a:pt x="891" y="229"/>
                  </a:lnTo>
                  <a:lnTo>
                    <a:pt x="901" y="216"/>
                  </a:lnTo>
                  <a:lnTo>
                    <a:pt x="911" y="205"/>
                  </a:lnTo>
                  <a:lnTo>
                    <a:pt x="924" y="196"/>
                  </a:lnTo>
                  <a:lnTo>
                    <a:pt x="937" y="188"/>
                  </a:lnTo>
                  <a:lnTo>
                    <a:pt x="952" y="182"/>
                  </a:lnTo>
                  <a:lnTo>
                    <a:pt x="988" y="175"/>
                  </a:lnTo>
                  <a:lnTo>
                    <a:pt x="1030" y="173"/>
                  </a:lnTo>
                  <a:lnTo>
                    <a:pt x="1045" y="174"/>
                  </a:lnTo>
                  <a:lnTo>
                    <a:pt x="1060" y="176"/>
                  </a:lnTo>
                  <a:lnTo>
                    <a:pt x="1073" y="179"/>
                  </a:lnTo>
                  <a:lnTo>
                    <a:pt x="1083" y="184"/>
                  </a:lnTo>
                  <a:lnTo>
                    <a:pt x="1104" y="198"/>
                  </a:lnTo>
                  <a:lnTo>
                    <a:pt x="1114" y="207"/>
                  </a:lnTo>
                  <a:lnTo>
                    <a:pt x="1124" y="219"/>
                  </a:lnTo>
                  <a:close/>
                  <a:moveTo>
                    <a:pt x="523" y="347"/>
                  </a:moveTo>
                  <a:lnTo>
                    <a:pt x="701" y="347"/>
                  </a:lnTo>
                  <a:lnTo>
                    <a:pt x="699" y="316"/>
                  </a:lnTo>
                  <a:lnTo>
                    <a:pt x="696" y="291"/>
                  </a:lnTo>
                  <a:lnTo>
                    <a:pt x="689" y="271"/>
                  </a:lnTo>
                  <a:lnTo>
                    <a:pt x="684" y="263"/>
                  </a:lnTo>
                  <a:lnTo>
                    <a:pt x="679" y="255"/>
                  </a:lnTo>
                  <a:lnTo>
                    <a:pt x="674" y="250"/>
                  </a:lnTo>
                  <a:lnTo>
                    <a:pt x="667" y="245"/>
                  </a:lnTo>
                  <a:lnTo>
                    <a:pt x="651" y="238"/>
                  </a:lnTo>
                  <a:lnTo>
                    <a:pt x="631" y="234"/>
                  </a:lnTo>
                  <a:lnTo>
                    <a:pt x="607" y="233"/>
                  </a:lnTo>
                  <a:lnTo>
                    <a:pt x="585" y="234"/>
                  </a:lnTo>
                  <a:lnTo>
                    <a:pt x="567" y="239"/>
                  </a:lnTo>
                  <a:lnTo>
                    <a:pt x="552" y="245"/>
                  </a:lnTo>
                  <a:lnTo>
                    <a:pt x="541" y="256"/>
                  </a:lnTo>
                  <a:lnTo>
                    <a:pt x="533" y="271"/>
                  </a:lnTo>
                  <a:lnTo>
                    <a:pt x="528" y="291"/>
                  </a:lnTo>
                  <a:lnTo>
                    <a:pt x="524" y="316"/>
                  </a:lnTo>
                  <a:lnTo>
                    <a:pt x="523" y="347"/>
                  </a:lnTo>
                  <a:close/>
                  <a:moveTo>
                    <a:pt x="523" y="412"/>
                  </a:moveTo>
                  <a:lnTo>
                    <a:pt x="524" y="453"/>
                  </a:lnTo>
                  <a:lnTo>
                    <a:pt x="525" y="470"/>
                  </a:lnTo>
                  <a:lnTo>
                    <a:pt x="526" y="486"/>
                  </a:lnTo>
                  <a:lnTo>
                    <a:pt x="532" y="511"/>
                  </a:lnTo>
                  <a:lnTo>
                    <a:pt x="541" y="531"/>
                  </a:lnTo>
                  <a:lnTo>
                    <a:pt x="547" y="539"/>
                  </a:lnTo>
                  <a:lnTo>
                    <a:pt x="553" y="545"/>
                  </a:lnTo>
                  <a:lnTo>
                    <a:pt x="562" y="549"/>
                  </a:lnTo>
                  <a:lnTo>
                    <a:pt x="571" y="553"/>
                  </a:lnTo>
                  <a:lnTo>
                    <a:pt x="594" y="557"/>
                  </a:lnTo>
                  <a:lnTo>
                    <a:pt x="624" y="558"/>
                  </a:lnTo>
                  <a:lnTo>
                    <a:pt x="642" y="558"/>
                  </a:lnTo>
                  <a:lnTo>
                    <a:pt x="659" y="556"/>
                  </a:lnTo>
                  <a:lnTo>
                    <a:pt x="672" y="552"/>
                  </a:lnTo>
                  <a:lnTo>
                    <a:pt x="682" y="546"/>
                  </a:lnTo>
                  <a:lnTo>
                    <a:pt x="692" y="539"/>
                  </a:lnTo>
                  <a:lnTo>
                    <a:pt x="698" y="528"/>
                  </a:lnTo>
                  <a:lnTo>
                    <a:pt x="710" y="500"/>
                  </a:lnTo>
                  <a:lnTo>
                    <a:pt x="712" y="493"/>
                  </a:lnTo>
                  <a:lnTo>
                    <a:pt x="716" y="489"/>
                  </a:lnTo>
                  <a:lnTo>
                    <a:pt x="720" y="488"/>
                  </a:lnTo>
                  <a:lnTo>
                    <a:pt x="726" y="488"/>
                  </a:lnTo>
                  <a:lnTo>
                    <a:pt x="765" y="495"/>
                  </a:lnTo>
                  <a:lnTo>
                    <a:pt x="772" y="496"/>
                  </a:lnTo>
                  <a:lnTo>
                    <a:pt x="776" y="500"/>
                  </a:lnTo>
                  <a:lnTo>
                    <a:pt x="778" y="505"/>
                  </a:lnTo>
                  <a:lnTo>
                    <a:pt x="778" y="511"/>
                  </a:lnTo>
                  <a:lnTo>
                    <a:pt x="772" y="533"/>
                  </a:lnTo>
                  <a:lnTo>
                    <a:pt x="763" y="553"/>
                  </a:lnTo>
                  <a:lnTo>
                    <a:pt x="752" y="571"/>
                  </a:lnTo>
                  <a:lnTo>
                    <a:pt x="744" y="579"/>
                  </a:lnTo>
                  <a:lnTo>
                    <a:pt x="736" y="588"/>
                  </a:lnTo>
                  <a:lnTo>
                    <a:pt x="716" y="600"/>
                  </a:lnTo>
                  <a:lnTo>
                    <a:pt x="690" y="611"/>
                  </a:lnTo>
                  <a:lnTo>
                    <a:pt x="675" y="615"/>
                  </a:lnTo>
                  <a:lnTo>
                    <a:pt x="657" y="617"/>
                  </a:lnTo>
                  <a:lnTo>
                    <a:pt x="617" y="619"/>
                  </a:lnTo>
                  <a:lnTo>
                    <a:pt x="571" y="617"/>
                  </a:lnTo>
                  <a:lnTo>
                    <a:pt x="533" y="610"/>
                  </a:lnTo>
                  <a:lnTo>
                    <a:pt x="519" y="604"/>
                  </a:lnTo>
                  <a:lnTo>
                    <a:pt x="505" y="595"/>
                  </a:lnTo>
                  <a:lnTo>
                    <a:pt x="493" y="586"/>
                  </a:lnTo>
                  <a:lnTo>
                    <a:pt x="483" y="574"/>
                  </a:lnTo>
                  <a:lnTo>
                    <a:pt x="474" y="561"/>
                  </a:lnTo>
                  <a:lnTo>
                    <a:pt x="467" y="544"/>
                  </a:lnTo>
                  <a:lnTo>
                    <a:pt x="458" y="505"/>
                  </a:lnTo>
                  <a:lnTo>
                    <a:pt x="451" y="455"/>
                  </a:lnTo>
                  <a:lnTo>
                    <a:pt x="450" y="393"/>
                  </a:lnTo>
                  <a:lnTo>
                    <a:pt x="452" y="332"/>
                  </a:lnTo>
                  <a:lnTo>
                    <a:pt x="456" y="307"/>
                  </a:lnTo>
                  <a:lnTo>
                    <a:pt x="459" y="284"/>
                  </a:lnTo>
                  <a:lnTo>
                    <a:pt x="464" y="263"/>
                  </a:lnTo>
                  <a:lnTo>
                    <a:pt x="470" y="245"/>
                  </a:lnTo>
                  <a:lnTo>
                    <a:pt x="479" y="229"/>
                  </a:lnTo>
                  <a:lnTo>
                    <a:pt x="488" y="216"/>
                  </a:lnTo>
                  <a:lnTo>
                    <a:pt x="499" y="205"/>
                  </a:lnTo>
                  <a:lnTo>
                    <a:pt x="510" y="196"/>
                  </a:lnTo>
                  <a:lnTo>
                    <a:pt x="524" y="188"/>
                  </a:lnTo>
                  <a:lnTo>
                    <a:pt x="540" y="182"/>
                  </a:lnTo>
                  <a:lnTo>
                    <a:pt x="575" y="175"/>
                  </a:lnTo>
                  <a:lnTo>
                    <a:pt x="617" y="173"/>
                  </a:lnTo>
                  <a:lnTo>
                    <a:pt x="640" y="174"/>
                  </a:lnTo>
                  <a:lnTo>
                    <a:pt x="661" y="176"/>
                  </a:lnTo>
                  <a:lnTo>
                    <a:pt x="680" y="179"/>
                  </a:lnTo>
                  <a:lnTo>
                    <a:pt x="697" y="184"/>
                  </a:lnTo>
                  <a:lnTo>
                    <a:pt x="712" y="191"/>
                  </a:lnTo>
                  <a:lnTo>
                    <a:pt x="724" y="200"/>
                  </a:lnTo>
                  <a:lnTo>
                    <a:pt x="736" y="209"/>
                  </a:lnTo>
                  <a:lnTo>
                    <a:pt x="745" y="221"/>
                  </a:lnTo>
                  <a:lnTo>
                    <a:pt x="753" y="233"/>
                  </a:lnTo>
                  <a:lnTo>
                    <a:pt x="759" y="248"/>
                  </a:lnTo>
                  <a:lnTo>
                    <a:pt x="764" y="264"/>
                  </a:lnTo>
                  <a:lnTo>
                    <a:pt x="767" y="281"/>
                  </a:lnTo>
                  <a:lnTo>
                    <a:pt x="770" y="301"/>
                  </a:lnTo>
                  <a:lnTo>
                    <a:pt x="773" y="320"/>
                  </a:lnTo>
                  <a:lnTo>
                    <a:pt x="774" y="367"/>
                  </a:lnTo>
                  <a:lnTo>
                    <a:pt x="774" y="396"/>
                  </a:lnTo>
                  <a:lnTo>
                    <a:pt x="773" y="403"/>
                  </a:lnTo>
                  <a:lnTo>
                    <a:pt x="769" y="407"/>
                  </a:lnTo>
                  <a:lnTo>
                    <a:pt x="765" y="411"/>
                  </a:lnTo>
                  <a:lnTo>
                    <a:pt x="758" y="412"/>
                  </a:lnTo>
                  <a:lnTo>
                    <a:pt x="523" y="412"/>
                  </a:lnTo>
                  <a:close/>
                  <a:moveTo>
                    <a:pt x="211" y="548"/>
                  </a:moveTo>
                  <a:lnTo>
                    <a:pt x="224" y="548"/>
                  </a:lnTo>
                  <a:lnTo>
                    <a:pt x="234" y="545"/>
                  </a:lnTo>
                  <a:lnTo>
                    <a:pt x="242" y="541"/>
                  </a:lnTo>
                  <a:lnTo>
                    <a:pt x="250" y="532"/>
                  </a:lnTo>
                  <a:lnTo>
                    <a:pt x="256" y="521"/>
                  </a:lnTo>
                  <a:lnTo>
                    <a:pt x="262" y="504"/>
                  </a:lnTo>
                  <a:lnTo>
                    <a:pt x="276" y="456"/>
                  </a:lnTo>
                  <a:lnTo>
                    <a:pt x="284" y="423"/>
                  </a:lnTo>
                  <a:lnTo>
                    <a:pt x="290" y="390"/>
                  </a:lnTo>
                  <a:lnTo>
                    <a:pt x="293" y="357"/>
                  </a:lnTo>
                  <a:lnTo>
                    <a:pt x="294" y="325"/>
                  </a:lnTo>
                  <a:lnTo>
                    <a:pt x="293" y="292"/>
                  </a:lnTo>
                  <a:lnTo>
                    <a:pt x="290" y="259"/>
                  </a:lnTo>
                  <a:lnTo>
                    <a:pt x="284" y="225"/>
                  </a:lnTo>
                  <a:lnTo>
                    <a:pt x="276" y="193"/>
                  </a:lnTo>
                  <a:lnTo>
                    <a:pt x="261" y="145"/>
                  </a:lnTo>
                  <a:lnTo>
                    <a:pt x="255" y="129"/>
                  </a:lnTo>
                  <a:lnTo>
                    <a:pt x="249" y="117"/>
                  </a:lnTo>
                  <a:lnTo>
                    <a:pt x="241" y="110"/>
                  </a:lnTo>
                  <a:lnTo>
                    <a:pt x="234" y="105"/>
                  </a:lnTo>
                  <a:lnTo>
                    <a:pt x="224" y="102"/>
                  </a:lnTo>
                  <a:lnTo>
                    <a:pt x="211" y="102"/>
                  </a:lnTo>
                  <a:lnTo>
                    <a:pt x="76" y="102"/>
                  </a:lnTo>
                  <a:lnTo>
                    <a:pt x="76" y="548"/>
                  </a:lnTo>
                  <a:lnTo>
                    <a:pt x="211" y="548"/>
                  </a:lnTo>
                  <a:close/>
                  <a:moveTo>
                    <a:pt x="13" y="612"/>
                  </a:moveTo>
                  <a:lnTo>
                    <a:pt x="3" y="610"/>
                  </a:lnTo>
                  <a:lnTo>
                    <a:pt x="1" y="606"/>
                  </a:lnTo>
                  <a:lnTo>
                    <a:pt x="0" y="600"/>
                  </a:lnTo>
                  <a:lnTo>
                    <a:pt x="0" y="51"/>
                  </a:lnTo>
                  <a:lnTo>
                    <a:pt x="1" y="45"/>
                  </a:lnTo>
                  <a:lnTo>
                    <a:pt x="3" y="40"/>
                  </a:lnTo>
                  <a:lnTo>
                    <a:pt x="6" y="38"/>
                  </a:lnTo>
                  <a:lnTo>
                    <a:pt x="13" y="38"/>
                  </a:lnTo>
                  <a:lnTo>
                    <a:pt x="213" y="38"/>
                  </a:lnTo>
                  <a:lnTo>
                    <a:pt x="233" y="39"/>
                  </a:lnTo>
                  <a:lnTo>
                    <a:pt x="251" y="42"/>
                  </a:lnTo>
                  <a:lnTo>
                    <a:pt x="267" y="47"/>
                  </a:lnTo>
                  <a:lnTo>
                    <a:pt x="281" y="54"/>
                  </a:lnTo>
                  <a:lnTo>
                    <a:pt x="294" y="64"/>
                  </a:lnTo>
                  <a:lnTo>
                    <a:pt x="305" y="76"/>
                  </a:lnTo>
                  <a:lnTo>
                    <a:pt x="315" y="91"/>
                  </a:lnTo>
                  <a:lnTo>
                    <a:pt x="324" y="109"/>
                  </a:lnTo>
                  <a:lnTo>
                    <a:pt x="345" y="162"/>
                  </a:lnTo>
                  <a:lnTo>
                    <a:pt x="354" y="189"/>
                  </a:lnTo>
                  <a:lnTo>
                    <a:pt x="360" y="216"/>
                  </a:lnTo>
                  <a:lnTo>
                    <a:pt x="367" y="269"/>
                  </a:lnTo>
                  <a:lnTo>
                    <a:pt x="369" y="296"/>
                  </a:lnTo>
                  <a:lnTo>
                    <a:pt x="369" y="325"/>
                  </a:lnTo>
                  <a:lnTo>
                    <a:pt x="367" y="381"/>
                  </a:lnTo>
                  <a:lnTo>
                    <a:pt x="364" y="409"/>
                  </a:lnTo>
                  <a:lnTo>
                    <a:pt x="360" y="435"/>
                  </a:lnTo>
                  <a:lnTo>
                    <a:pt x="354" y="461"/>
                  </a:lnTo>
                  <a:lnTo>
                    <a:pt x="345" y="487"/>
                  </a:lnTo>
                  <a:lnTo>
                    <a:pt x="336" y="514"/>
                  </a:lnTo>
                  <a:lnTo>
                    <a:pt x="324" y="542"/>
                  </a:lnTo>
                  <a:lnTo>
                    <a:pt x="315" y="560"/>
                  </a:lnTo>
                  <a:lnTo>
                    <a:pt x="305" y="574"/>
                  </a:lnTo>
                  <a:lnTo>
                    <a:pt x="294" y="587"/>
                  </a:lnTo>
                  <a:lnTo>
                    <a:pt x="281" y="596"/>
                  </a:lnTo>
                  <a:lnTo>
                    <a:pt x="267" y="604"/>
                  </a:lnTo>
                  <a:lnTo>
                    <a:pt x="251" y="609"/>
                  </a:lnTo>
                  <a:lnTo>
                    <a:pt x="233" y="612"/>
                  </a:lnTo>
                  <a:lnTo>
                    <a:pt x="213" y="612"/>
                  </a:lnTo>
                  <a:lnTo>
                    <a:pt x="13" y="612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eaLnBrk="1"/>
              <a:endParaRPr lang="en-US" dirty="0"/>
            </a:p>
          </p:txBody>
        </p:sp>
        <p:grpSp>
          <p:nvGrpSpPr>
            <p:cNvPr id="16" name="Group 15"/>
            <p:cNvGrpSpPr/>
            <p:nvPr userDrawn="1"/>
          </p:nvGrpSpPr>
          <p:grpSpPr>
            <a:xfrm>
              <a:off x="6991350" y="1773238"/>
              <a:ext cx="1422400" cy="719137"/>
              <a:chOff x="6991350" y="1773238"/>
              <a:chExt cx="1422400" cy="719137"/>
            </a:xfrm>
          </p:grpSpPr>
          <p:sp>
            <p:nvSpPr>
              <p:cNvPr id="17" name="Freeform 7"/>
              <p:cNvSpPr>
                <a:spLocks noEditPoints="1"/>
              </p:cNvSpPr>
              <p:nvPr userDrawn="1"/>
            </p:nvSpPr>
            <p:spPr bwMode="auto">
              <a:xfrm>
                <a:off x="6991350" y="1773238"/>
                <a:ext cx="1422400" cy="719137"/>
              </a:xfrm>
              <a:custGeom>
                <a:avLst/>
                <a:gdLst>
                  <a:gd name="T0" fmla="*/ 0 w 3583"/>
                  <a:gd name="T1" fmla="*/ 1811 h 1811"/>
                  <a:gd name="T2" fmla="*/ 834 w 3583"/>
                  <a:gd name="T3" fmla="*/ 1811 h 1811"/>
                  <a:gd name="T4" fmla="*/ 834 w 3583"/>
                  <a:gd name="T5" fmla="*/ 1358 h 1811"/>
                  <a:gd name="T6" fmla="*/ 834 w 3583"/>
                  <a:gd name="T7" fmla="*/ 905 h 1811"/>
                  <a:gd name="T8" fmla="*/ 834 w 3583"/>
                  <a:gd name="T9" fmla="*/ 452 h 1811"/>
                  <a:gd name="T10" fmla="*/ 834 w 3583"/>
                  <a:gd name="T11" fmla="*/ 0 h 1811"/>
                  <a:gd name="T12" fmla="*/ 0 w 3583"/>
                  <a:gd name="T13" fmla="*/ 0 h 1811"/>
                  <a:gd name="T14" fmla="*/ 0 w 3583"/>
                  <a:gd name="T15" fmla="*/ 452 h 1811"/>
                  <a:gd name="T16" fmla="*/ 0 w 3583"/>
                  <a:gd name="T17" fmla="*/ 905 h 1811"/>
                  <a:gd name="T18" fmla="*/ 0 w 3583"/>
                  <a:gd name="T19" fmla="*/ 1358 h 1811"/>
                  <a:gd name="T20" fmla="*/ 0 w 3583"/>
                  <a:gd name="T21" fmla="*/ 1811 h 1811"/>
                  <a:gd name="T22" fmla="*/ 917 w 3583"/>
                  <a:gd name="T23" fmla="*/ 1811 h 1811"/>
                  <a:gd name="T24" fmla="*/ 1750 w 3583"/>
                  <a:gd name="T25" fmla="*/ 1811 h 1811"/>
                  <a:gd name="T26" fmla="*/ 1750 w 3583"/>
                  <a:gd name="T27" fmla="*/ 1358 h 1811"/>
                  <a:gd name="T28" fmla="*/ 1750 w 3583"/>
                  <a:gd name="T29" fmla="*/ 905 h 1811"/>
                  <a:gd name="T30" fmla="*/ 1750 w 3583"/>
                  <a:gd name="T31" fmla="*/ 452 h 1811"/>
                  <a:gd name="T32" fmla="*/ 1750 w 3583"/>
                  <a:gd name="T33" fmla="*/ 0 h 1811"/>
                  <a:gd name="T34" fmla="*/ 917 w 3583"/>
                  <a:gd name="T35" fmla="*/ 0 h 1811"/>
                  <a:gd name="T36" fmla="*/ 917 w 3583"/>
                  <a:gd name="T37" fmla="*/ 452 h 1811"/>
                  <a:gd name="T38" fmla="*/ 917 w 3583"/>
                  <a:gd name="T39" fmla="*/ 905 h 1811"/>
                  <a:gd name="T40" fmla="*/ 917 w 3583"/>
                  <a:gd name="T41" fmla="*/ 1358 h 1811"/>
                  <a:gd name="T42" fmla="*/ 917 w 3583"/>
                  <a:gd name="T43" fmla="*/ 1811 h 1811"/>
                  <a:gd name="T44" fmla="*/ 1833 w 3583"/>
                  <a:gd name="T45" fmla="*/ 1811 h 1811"/>
                  <a:gd name="T46" fmla="*/ 2666 w 3583"/>
                  <a:gd name="T47" fmla="*/ 1811 h 1811"/>
                  <a:gd name="T48" fmla="*/ 2666 w 3583"/>
                  <a:gd name="T49" fmla="*/ 1358 h 1811"/>
                  <a:gd name="T50" fmla="*/ 2666 w 3583"/>
                  <a:gd name="T51" fmla="*/ 905 h 1811"/>
                  <a:gd name="T52" fmla="*/ 2666 w 3583"/>
                  <a:gd name="T53" fmla="*/ 452 h 1811"/>
                  <a:gd name="T54" fmla="*/ 2666 w 3583"/>
                  <a:gd name="T55" fmla="*/ 0 h 1811"/>
                  <a:gd name="T56" fmla="*/ 1833 w 3583"/>
                  <a:gd name="T57" fmla="*/ 0 h 1811"/>
                  <a:gd name="T58" fmla="*/ 1833 w 3583"/>
                  <a:gd name="T59" fmla="*/ 452 h 1811"/>
                  <a:gd name="T60" fmla="*/ 1833 w 3583"/>
                  <a:gd name="T61" fmla="*/ 905 h 1811"/>
                  <a:gd name="T62" fmla="*/ 1833 w 3583"/>
                  <a:gd name="T63" fmla="*/ 1358 h 1811"/>
                  <a:gd name="T64" fmla="*/ 1833 w 3583"/>
                  <a:gd name="T65" fmla="*/ 1811 h 1811"/>
                  <a:gd name="T66" fmla="*/ 3583 w 3583"/>
                  <a:gd name="T67" fmla="*/ 0 h 1811"/>
                  <a:gd name="T68" fmla="*/ 2749 w 3583"/>
                  <a:gd name="T69" fmla="*/ 0 h 1811"/>
                  <a:gd name="T70" fmla="*/ 2749 w 3583"/>
                  <a:gd name="T71" fmla="*/ 452 h 1811"/>
                  <a:gd name="T72" fmla="*/ 2749 w 3583"/>
                  <a:gd name="T73" fmla="*/ 905 h 1811"/>
                  <a:gd name="T74" fmla="*/ 2749 w 3583"/>
                  <a:gd name="T75" fmla="*/ 1358 h 1811"/>
                  <a:gd name="T76" fmla="*/ 2749 w 3583"/>
                  <a:gd name="T77" fmla="*/ 1811 h 1811"/>
                  <a:gd name="T78" fmla="*/ 3583 w 3583"/>
                  <a:gd name="T79" fmla="*/ 1811 h 1811"/>
                  <a:gd name="T80" fmla="*/ 3583 w 3583"/>
                  <a:gd name="T81" fmla="*/ 1358 h 1811"/>
                  <a:gd name="T82" fmla="*/ 3583 w 3583"/>
                  <a:gd name="T83" fmla="*/ 905 h 1811"/>
                  <a:gd name="T84" fmla="*/ 3583 w 3583"/>
                  <a:gd name="T85" fmla="*/ 452 h 1811"/>
                  <a:gd name="T86" fmla="*/ 3583 w 3583"/>
                  <a:gd name="T87" fmla="*/ 0 h 1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83" h="1811">
                    <a:moveTo>
                      <a:pt x="0" y="1811"/>
                    </a:moveTo>
                    <a:lnTo>
                      <a:pt x="834" y="1811"/>
                    </a:lnTo>
                    <a:lnTo>
                      <a:pt x="834" y="1358"/>
                    </a:lnTo>
                    <a:lnTo>
                      <a:pt x="834" y="905"/>
                    </a:lnTo>
                    <a:lnTo>
                      <a:pt x="834" y="452"/>
                    </a:lnTo>
                    <a:lnTo>
                      <a:pt x="834" y="0"/>
                    </a:lnTo>
                    <a:lnTo>
                      <a:pt x="0" y="0"/>
                    </a:lnTo>
                    <a:lnTo>
                      <a:pt x="0" y="452"/>
                    </a:lnTo>
                    <a:lnTo>
                      <a:pt x="0" y="905"/>
                    </a:lnTo>
                    <a:lnTo>
                      <a:pt x="0" y="1358"/>
                    </a:lnTo>
                    <a:lnTo>
                      <a:pt x="0" y="1811"/>
                    </a:lnTo>
                    <a:close/>
                    <a:moveTo>
                      <a:pt x="917" y="1811"/>
                    </a:moveTo>
                    <a:lnTo>
                      <a:pt x="1750" y="1811"/>
                    </a:lnTo>
                    <a:lnTo>
                      <a:pt x="1750" y="1358"/>
                    </a:lnTo>
                    <a:lnTo>
                      <a:pt x="1750" y="905"/>
                    </a:lnTo>
                    <a:lnTo>
                      <a:pt x="1750" y="452"/>
                    </a:lnTo>
                    <a:lnTo>
                      <a:pt x="1750" y="0"/>
                    </a:lnTo>
                    <a:lnTo>
                      <a:pt x="917" y="0"/>
                    </a:lnTo>
                    <a:lnTo>
                      <a:pt x="917" y="452"/>
                    </a:lnTo>
                    <a:lnTo>
                      <a:pt x="917" y="905"/>
                    </a:lnTo>
                    <a:lnTo>
                      <a:pt x="917" y="1358"/>
                    </a:lnTo>
                    <a:lnTo>
                      <a:pt x="917" y="1811"/>
                    </a:lnTo>
                    <a:close/>
                    <a:moveTo>
                      <a:pt x="1833" y="1811"/>
                    </a:moveTo>
                    <a:lnTo>
                      <a:pt x="2666" y="1811"/>
                    </a:lnTo>
                    <a:lnTo>
                      <a:pt x="2666" y="1358"/>
                    </a:lnTo>
                    <a:lnTo>
                      <a:pt x="2666" y="905"/>
                    </a:lnTo>
                    <a:lnTo>
                      <a:pt x="2666" y="452"/>
                    </a:lnTo>
                    <a:lnTo>
                      <a:pt x="2666" y="0"/>
                    </a:lnTo>
                    <a:lnTo>
                      <a:pt x="1833" y="0"/>
                    </a:lnTo>
                    <a:lnTo>
                      <a:pt x="1833" y="452"/>
                    </a:lnTo>
                    <a:lnTo>
                      <a:pt x="1833" y="905"/>
                    </a:lnTo>
                    <a:lnTo>
                      <a:pt x="1833" y="1358"/>
                    </a:lnTo>
                    <a:lnTo>
                      <a:pt x="1833" y="1811"/>
                    </a:lnTo>
                    <a:close/>
                    <a:moveTo>
                      <a:pt x="3583" y="0"/>
                    </a:moveTo>
                    <a:lnTo>
                      <a:pt x="2749" y="0"/>
                    </a:lnTo>
                    <a:lnTo>
                      <a:pt x="2749" y="452"/>
                    </a:lnTo>
                    <a:lnTo>
                      <a:pt x="2749" y="905"/>
                    </a:lnTo>
                    <a:lnTo>
                      <a:pt x="2749" y="1358"/>
                    </a:lnTo>
                    <a:lnTo>
                      <a:pt x="2749" y="1811"/>
                    </a:lnTo>
                    <a:lnTo>
                      <a:pt x="3583" y="1811"/>
                    </a:lnTo>
                    <a:lnTo>
                      <a:pt x="3583" y="1358"/>
                    </a:lnTo>
                    <a:lnTo>
                      <a:pt x="3583" y="905"/>
                    </a:lnTo>
                    <a:lnTo>
                      <a:pt x="3583" y="452"/>
                    </a:lnTo>
                    <a:lnTo>
                      <a:pt x="3583" y="0"/>
                    </a:lnTo>
                    <a:close/>
                  </a:path>
                </a:pathLst>
              </a:custGeom>
              <a:solidFill>
                <a:srgbClr val="0071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dirty="0"/>
              </a:p>
            </p:txBody>
          </p:sp>
          <p:sp>
            <p:nvSpPr>
              <p:cNvPr id="18" name="Freeform 8"/>
              <p:cNvSpPr>
                <a:spLocks noEditPoints="1"/>
              </p:cNvSpPr>
              <p:nvPr userDrawn="1"/>
            </p:nvSpPr>
            <p:spPr bwMode="auto">
              <a:xfrm>
                <a:off x="7038975" y="1992313"/>
                <a:ext cx="1312863" cy="280987"/>
              </a:xfrm>
              <a:custGeom>
                <a:avLst/>
                <a:gdLst>
                  <a:gd name="T0" fmla="*/ 628 w 3308"/>
                  <a:gd name="T1" fmla="*/ 20 h 705"/>
                  <a:gd name="T2" fmla="*/ 184 w 3308"/>
                  <a:gd name="T3" fmla="*/ 20 h 705"/>
                  <a:gd name="T4" fmla="*/ 184 w 3308"/>
                  <a:gd name="T5" fmla="*/ 695 h 705"/>
                  <a:gd name="T6" fmla="*/ 645 w 3308"/>
                  <a:gd name="T7" fmla="*/ 695 h 705"/>
                  <a:gd name="T8" fmla="*/ 1383 w 3308"/>
                  <a:gd name="T9" fmla="*/ 394 h 705"/>
                  <a:gd name="T10" fmla="*/ 1367 w 3308"/>
                  <a:gd name="T11" fmla="*/ 448 h 705"/>
                  <a:gd name="T12" fmla="*/ 1337 w 3308"/>
                  <a:gd name="T13" fmla="*/ 493 h 705"/>
                  <a:gd name="T14" fmla="*/ 1297 w 3308"/>
                  <a:gd name="T15" fmla="*/ 524 h 705"/>
                  <a:gd name="T16" fmla="*/ 1249 w 3308"/>
                  <a:gd name="T17" fmla="*/ 542 h 705"/>
                  <a:gd name="T18" fmla="*/ 1161 w 3308"/>
                  <a:gd name="T19" fmla="*/ 538 h 705"/>
                  <a:gd name="T20" fmla="*/ 1116 w 3308"/>
                  <a:gd name="T21" fmla="*/ 515 h 705"/>
                  <a:gd name="T22" fmla="*/ 1079 w 3308"/>
                  <a:gd name="T23" fmla="*/ 479 h 705"/>
                  <a:gd name="T24" fmla="*/ 1053 w 3308"/>
                  <a:gd name="T25" fmla="*/ 431 h 705"/>
                  <a:gd name="T26" fmla="*/ 1040 w 3308"/>
                  <a:gd name="T27" fmla="*/ 352 h 705"/>
                  <a:gd name="T28" fmla="*/ 1047 w 3308"/>
                  <a:gd name="T29" fmla="*/ 292 h 705"/>
                  <a:gd name="T30" fmla="*/ 1068 w 3308"/>
                  <a:gd name="T31" fmla="*/ 241 h 705"/>
                  <a:gd name="T32" fmla="*/ 1102 w 3308"/>
                  <a:gd name="T33" fmla="*/ 201 h 705"/>
                  <a:gd name="T34" fmla="*/ 1145 w 3308"/>
                  <a:gd name="T35" fmla="*/ 174 h 705"/>
                  <a:gd name="T36" fmla="*/ 1213 w 3308"/>
                  <a:gd name="T37" fmla="*/ 159 h 705"/>
                  <a:gd name="T38" fmla="*/ 1282 w 3308"/>
                  <a:gd name="T39" fmla="*/ 174 h 705"/>
                  <a:gd name="T40" fmla="*/ 1325 w 3308"/>
                  <a:gd name="T41" fmla="*/ 201 h 705"/>
                  <a:gd name="T42" fmla="*/ 1358 w 3308"/>
                  <a:gd name="T43" fmla="*/ 241 h 705"/>
                  <a:gd name="T44" fmla="*/ 1379 w 3308"/>
                  <a:gd name="T45" fmla="*/ 292 h 705"/>
                  <a:gd name="T46" fmla="*/ 1571 w 3308"/>
                  <a:gd name="T47" fmla="*/ 352 h 705"/>
                  <a:gd name="T48" fmla="*/ 1554 w 3308"/>
                  <a:gd name="T49" fmla="*/ 242 h 705"/>
                  <a:gd name="T50" fmla="*/ 1510 w 3308"/>
                  <a:gd name="T51" fmla="*/ 149 h 705"/>
                  <a:gd name="T52" fmla="*/ 1441 w 3308"/>
                  <a:gd name="T53" fmla="*/ 76 h 705"/>
                  <a:gd name="T54" fmla="*/ 1353 w 3308"/>
                  <a:gd name="T55" fmla="*/ 26 h 705"/>
                  <a:gd name="T56" fmla="*/ 1250 w 3308"/>
                  <a:gd name="T57" fmla="*/ 2 h 705"/>
                  <a:gd name="T58" fmla="*/ 1141 w 3308"/>
                  <a:gd name="T59" fmla="*/ 6 h 705"/>
                  <a:gd name="T60" fmla="*/ 1043 w 3308"/>
                  <a:gd name="T61" fmla="*/ 40 h 705"/>
                  <a:gd name="T62" fmla="*/ 960 w 3308"/>
                  <a:gd name="T63" fmla="*/ 97 h 705"/>
                  <a:gd name="T64" fmla="*/ 899 w 3308"/>
                  <a:gd name="T65" fmla="*/ 178 h 705"/>
                  <a:gd name="T66" fmla="*/ 864 w 3308"/>
                  <a:gd name="T67" fmla="*/ 278 h 705"/>
                  <a:gd name="T68" fmla="*/ 857 w 3308"/>
                  <a:gd name="T69" fmla="*/ 391 h 705"/>
                  <a:gd name="T70" fmla="*/ 884 w 3308"/>
                  <a:gd name="T71" fmla="*/ 496 h 705"/>
                  <a:gd name="T72" fmla="*/ 937 w 3308"/>
                  <a:gd name="T73" fmla="*/ 583 h 705"/>
                  <a:gd name="T74" fmla="*/ 1013 w 3308"/>
                  <a:gd name="T75" fmla="*/ 649 h 705"/>
                  <a:gd name="T76" fmla="*/ 1107 w 3308"/>
                  <a:gd name="T77" fmla="*/ 691 h 705"/>
                  <a:gd name="T78" fmla="*/ 1213 w 3308"/>
                  <a:gd name="T79" fmla="*/ 705 h 705"/>
                  <a:gd name="T80" fmla="*/ 1320 w 3308"/>
                  <a:gd name="T81" fmla="*/ 691 h 705"/>
                  <a:gd name="T82" fmla="*/ 1414 w 3308"/>
                  <a:gd name="T83" fmla="*/ 649 h 705"/>
                  <a:gd name="T84" fmla="*/ 1489 w 3308"/>
                  <a:gd name="T85" fmla="*/ 583 h 705"/>
                  <a:gd name="T86" fmla="*/ 1543 w 3308"/>
                  <a:gd name="T87" fmla="*/ 496 h 705"/>
                  <a:gd name="T88" fmla="*/ 1569 w 3308"/>
                  <a:gd name="T89" fmla="*/ 391 h 705"/>
                  <a:gd name="T90" fmla="*/ 2436 w 3308"/>
                  <a:gd name="T91" fmla="*/ 695 h 705"/>
                  <a:gd name="T92" fmla="*/ 2265 w 3308"/>
                  <a:gd name="T93" fmla="*/ 349 h 705"/>
                  <a:gd name="T94" fmla="*/ 1823 w 3308"/>
                  <a:gd name="T95" fmla="*/ 695 h 705"/>
                  <a:gd name="T96" fmla="*/ 2343 w 3308"/>
                  <a:gd name="T97" fmla="*/ 695 h 705"/>
                  <a:gd name="T98" fmla="*/ 3268 w 3308"/>
                  <a:gd name="T99" fmla="*/ 428 h 705"/>
                  <a:gd name="T100" fmla="*/ 2969 w 3308"/>
                  <a:gd name="T101" fmla="*/ 168 h 705"/>
                  <a:gd name="T102" fmla="*/ 2788 w 3308"/>
                  <a:gd name="T103" fmla="*/ 20 h 705"/>
                  <a:gd name="T104" fmla="*/ 3308 w 3308"/>
                  <a:gd name="T105" fmla="*/ 542 h 7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3308" h="705">
                    <a:moveTo>
                      <a:pt x="645" y="695"/>
                    </a:moveTo>
                    <a:lnTo>
                      <a:pt x="377" y="337"/>
                    </a:lnTo>
                    <a:lnTo>
                      <a:pt x="628" y="20"/>
                    </a:lnTo>
                    <a:lnTo>
                      <a:pt x="411" y="20"/>
                    </a:lnTo>
                    <a:lnTo>
                      <a:pt x="184" y="314"/>
                    </a:lnTo>
                    <a:lnTo>
                      <a:pt x="184" y="20"/>
                    </a:lnTo>
                    <a:lnTo>
                      <a:pt x="0" y="20"/>
                    </a:lnTo>
                    <a:lnTo>
                      <a:pt x="0" y="695"/>
                    </a:lnTo>
                    <a:lnTo>
                      <a:pt x="184" y="695"/>
                    </a:lnTo>
                    <a:lnTo>
                      <a:pt x="184" y="375"/>
                    </a:lnTo>
                    <a:lnTo>
                      <a:pt x="421" y="695"/>
                    </a:lnTo>
                    <a:lnTo>
                      <a:pt x="645" y="695"/>
                    </a:lnTo>
                    <a:close/>
                    <a:moveTo>
                      <a:pt x="1388" y="352"/>
                    </a:moveTo>
                    <a:lnTo>
                      <a:pt x="1387" y="374"/>
                    </a:lnTo>
                    <a:lnTo>
                      <a:pt x="1383" y="394"/>
                    </a:lnTo>
                    <a:lnTo>
                      <a:pt x="1379" y="413"/>
                    </a:lnTo>
                    <a:lnTo>
                      <a:pt x="1374" y="431"/>
                    </a:lnTo>
                    <a:lnTo>
                      <a:pt x="1367" y="448"/>
                    </a:lnTo>
                    <a:lnTo>
                      <a:pt x="1358" y="464"/>
                    </a:lnTo>
                    <a:lnTo>
                      <a:pt x="1348" y="479"/>
                    </a:lnTo>
                    <a:lnTo>
                      <a:pt x="1337" y="493"/>
                    </a:lnTo>
                    <a:lnTo>
                      <a:pt x="1325" y="504"/>
                    </a:lnTo>
                    <a:lnTo>
                      <a:pt x="1311" y="515"/>
                    </a:lnTo>
                    <a:lnTo>
                      <a:pt x="1297" y="524"/>
                    </a:lnTo>
                    <a:lnTo>
                      <a:pt x="1282" y="531"/>
                    </a:lnTo>
                    <a:lnTo>
                      <a:pt x="1266" y="538"/>
                    </a:lnTo>
                    <a:lnTo>
                      <a:pt x="1249" y="542"/>
                    </a:lnTo>
                    <a:lnTo>
                      <a:pt x="1213" y="546"/>
                    </a:lnTo>
                    <a:lnTo>
                      <a:pt x="1178" y="542"/>
                    </a:lnTo>
                    <a:lnTo>
                      <a:pt x="1161" y="538"/>
                    </a:lnTo>
                    <a:lnTo>
                      <a:pt x="1145" y="531"/>
                    </a:lnTo>
                    <a:lnTo>
                      <a:pt x="1129" y="524"/>
                    </a:lnTo>
                    <a:lnTo>
                      <a:pt x="1116" y="515"/>
                    </a:lnTo>
                    <a:lnTo>
                      <a:pt x="1102" y="504"/>
                    </a:lnTo>
                    <a:lnTo>
                      <a:pt x="1089" y="493"/>
                    </a:lnTo>
                    <a:lnTo>
                      <a:pt x="1079" y="479"/>
                    </a:lnTo>
                    <a:lnTo>
                      <a:pt x="1068" y="464"/>
                    </a:lnTo>
                    <a:lnTo>
                      <a:pt x="1060" y="448"/>
                    </a:lnTo>
                    <a:lnTo>
                      <a:pt x="1053" y="431"/>
                    </a:lnTo>
                    <a:lnTo>
                      <a:pt x="1047" y="413"/>
                    </a:lnTo>
                    <a:lnTo>
                      <a:pt x="1043" y="394"/>
                    </a:lnTo>
                    <a:lnTo>
                      <a:pt x="1040" y="352"/>
                    </a:lnTo>
                    <a:lnTo>
                      <a:pt x="1041" y="331"/>
                    </a:lnTo>
                    <a:lnTo>
                      <a:pt x="1043" y="311"/>
                    </a:lnTo>
                    <a:lnTo>
                      <a:pt x="1047" y="292"/>
                    </a:lnTo>
                    <a:lnTo>
                      <a:pt x="1053" y="274"/>
                    </a:lnTo>
                    <a:lnTo>
                      <a:pt x="1060" y="257"/>
                    </a:lnTo>
                    <a:lnTo>
                      <a:pt x="1068" y="241"/>
                    </a:lnTo>
                    <a:lnTo>
                      <a:pt x="1079" y="226"/>
                    </a:lnTo>
                    <a:lnTo>
                      <a:pt x="1089" y="213"/>
                    </a:lnTo>
                    <a:lnTo>
                      <a:pt x="1102" y="201"/>
                    </a:lnTo>
                    <a:lnTo>
                      <a:pt x="1116" y="191"/>
                    </a:lnTo>
                    <a:lnTo>
                      <a:pt x="1129" y="181"/>
                    </a:lnTo>
                    <a:lnTo>
                      <a:pt x="1145" y="174"/>
                    </a:lnTo>
                    <a:lnTo>
                      <a:pt x="1161" y="167"/>
                    </a:lnTo>
                    <a:lnTo>
                      <a:pt x="1178" y="162"/>
                    </a:lnTo>
                    <a:lnTo>
                      <a:pt x="1213" y="159"/>
                    </a:lnTo>
                    <a:lnTo>
                      <a:pt x="1249" y="162"/>
                    </a:lnTo>
                    <a:lnTo>
                      <a:pt x="1266" y="167"/>
                    </a:lnTo>
                    <a:lnTo>
                      <a:pt x="1282" y="174"/>
                    </a:lnTo>
                    <a:lnTo>
                      <a:pt x="1297" y="181"/>
                    </a:lnTo>
                    <a:lnTo>
                      <a:pt x="1311" y="191"/>
                    </a:lnTo>
                    <a:lnTo>
                      <a:pt x="1325" y="201"/>
                    </a:lnTo>
                    <a:lnTo>
                      <a:pt x="1337" y="213"/>
                    </a:lnTo>
                    <a:lnTo>
                      <a:pt x="1348" y="226"/>
                    </a:lnTo>
                    <a:lnTo>
                      <a:pt x="1358" y="241"/>
                    </a:lnTo>
                    <a:lnTo>
                      <a:pt x="1367" y="257"/>
                    </a:lnTo>
                    <a:lnTo>
                      <a:pt x="1374" y="274"/>
                    </a:lnTo>
                    <a:lnTo>
                      <a:pt x="1379" y="292"/>
                    </a:lnTo>
                    <a:lnTo>
                      <a:pt x="1383" y="311"/>
                    </a:lnTo>
                    <a:lnTo>
                      <a:pt x="1388" y="352"/>
                    </a:lnTo>
                    <a:close/>
                    <a:moveTo>
                      <a:pt x="1571" y="352"/>
                    </a:moveTo>
                    <a:lnTo>
                      <a:pt x="1569" y="314"/>
                    </a:lnTo>
                    <a:lnTo>
                      <a:pt x="1564" y="278"/>
                    </a:lnTo>
                    <a:lnTo>
                      <a:pt x="1554" y="242"/>
                    </a:lnTo>
                    <a:lnTo>
                      <a:pt x="1543" y="209"/>
                    </a:lnTo>
                    <a:lnTo>
                      <a:pt x="1528" y="178"/>
                    </a:lnTo>
                    <a:lnTo>
                      <a:pt x="1510" y="149"/>
                    </a:lnTo>
                    <a:lnTo>
                      <a:pt x="1489" y="122"/>
                    </a:lnTo>
                    <a:lnTo>
                      <a:pt x="1466" y="97"/>
                    </a:lnTo>
                    <a:lnTo>
                      <a:pt x="1441" y="76"/>
                    </a:lnTo>
                    <a:lnTo>
                      <a:pt x="1414" y="56"/>
                    </a:lnTo>
                    <a:lnTo>
                      <a:pt x="1384" y="40"/>
                    </a:lnTo>
                    <a:lnTo>
                      <a:pt x="1353" y="26"/>
                    </a:lnTo>
                    <a:lnTo>
                      <a:pt x="1320" y="14"/>
                    </a:lnTo>
                    <a:lnTo>
                      <a:pt x="1286" y="6"/>
                    </a:lnTo>
                    <a:lnTo>
                      <a:pt x="1250" y="2"/>
                    </a:lnTo>
                    <a:lnTo>
                      <a:pt x="1213" y="0"/>
                    </a:lnTo>
                    <a:lnTo>
                      <a:pt x="1177" y="2"/>
                    </a:lnTo>
                    <a:lnTo>
                      <a:pt x="1141" y="6"/>
                    </a:lnTo>
                    <a:lnTo>
                      <a:pt x="1107" y="14"/>
                    </a:lnTo>
                    <a:lnTo>
                      <a:pt x="1074" y="26"/>
                    </a:lnTo>
                    <a:lnTo>
                      <a:pt x="1043" y="40"/>
                    </a:lnTo>
                    <a:lnTo>
                      <a:pt x="1013" y="56"/>
                    </a:lnTo>
                    <a:lnTo>
                      <a:pt x="986" y="76"/>
                    </a:lnTo>
                    <a:lnTo>
                      <a:pt x="960" y="97"/>
                    </a:lnTo>
                    <a:lnTo>
                      <a:pt x="937" y="122"/>
                    </a:lnTo>
                    <a:lnTo>
                      <a:pt x="917" y="149"/>
                    </a:lnTo>
                    <a:lnTo>
                      <a:pt x="899" y="178"/>
                    </a:lnTo>
                    <a:lnTo>
                      <a:pt x="884" y="209"/>
                    </a:lnTo>
                    <a:lnTo>
                      <a:pt x="872" y="242"/>
                    </a:lnTo>
                    <a:lnTo>
                      <a:pt x="864" y="278"/>
                    </a:lnTo>
                    <a:lnTo>
                      <a:pt x="857" y="314"/>
                    </a:lnTo>
                    <a:lnTo>
                      <a:pt x="856" y="352"/>
                    </a:lnTo>
                    <a:lnTo>
                      <a:pt x="857" y="391"/>
                    </a:lnTo>
                    <a:lnTo>
                      <a:pt x="864" y="428"/>
                    </a:lnTo>
                    <a:lnTo>
                      <a:pt x="872" y="463"/>
                    </a:lnTo>
                    <a:lnTo>
                      <a:pt x="884" y="496"/>
                    </a:lnTo>
                    <a:lnTo>
                      <a:pt x="899" y="527"/>
                    </a:lnTo>
                    <a:lnTo>
                      <a:pt x="917" y="556"/>
                    </a:lnTo>
                    <a:lnTo>
                      <a:pt x="937" y="583"/>
                    </a:lnTo>
                    <a:lnTo>
                      <a:pt x="960" y="607"/>
                    </a:lnTo>
                    <a:lnTo>
                      <a:pt x="986" y="629"/>
                    </a:lnTo>
                    <a:lnTo>
                      <a:pt x="1013" y="649"/>
                    </a:lnTo>
                    <a:lnTo>
                      <a:pt x="1043" y="666"/>
                    </a:lnTo>
                    <a:lnTo>
                      <a:pt x="1074" y="679"/>
                    </a:lnTo>
                    <a:lnTo>
                      <a:pt x="1107" y="691"/>
                    </a:lnTo>
                    <a:lnTo>
                      <a:pt x="1141" y="699"/>
                    </a:lnTo>
                    <a:lnTo>
                      <a:pt x="1177" y="703"/>
                    </a:lnTo>
                    <a:lnTo>
                      <a:pt x="1213" y="705"/>
                    </a:lnTo>
                    <a:lnTo>
                      <a:pt x="1250" y="703"/>
                    </a:lnTo>
                    <a:lnTo>
                      <a:pt x="1286" y="699"/>
                    </a:lnTo>
                    <a:lnTo>
                      <a:pt x="1320" y="691"/>
                    </a:lnTo>
                    <a:lnTo>
                      <a:pt x="1353" y="679"/>
                    </a:lnTo>
                    <a:lnTo>
                      <a:pt x="1384" y="666"/>
                    </a:lnTo>
                    <a:lnTo>
                      <a:pt x="1414" y="649"/>
                    </a:lnTo>
                    <a:lnTo>
                      <a:pt x="1441" y="629"/>
                    </a:lnTo>
                    <a:lnTo>
                      <a:pt x="1466" y="607"/>
                    </a:lnTo>
                    <a:lnTo>
                      <a:pt x="1489" y="583"/>
                    </a:lnTo>
                    <a:lnTo>
                      <a:pt x="1510" y="556"/>
                    </a:lnTo>
                    <a:lnTo>
                      <a:pt x="1528" y="527"/>
                    </a:lnTo>
                    <a:lnTo>
                      <a:pt x="1543" y="496"/>
                    </a:lnTo>
                    <a:lnTo>
                      <a:pt x="1554" y="463"/>
                    </a:lnTo>
                    <a:lnTo>
                      <a:pt x="1564" y="428"/>
                    </a:lnTo>
                    <a:lnTo>
                      <a:pt x="1569" y="391"/>
                    </a:lnTo>
                    <a:lnTo>
                      <a:pt x="1571" y="352"/>
                    </a:lnTo>
                    <a:close/>
                    <a:moveTo>
                      <a:pt x="2343" y="695"/>
                    </a:moveTo>
                    <a:lnTo>
                      <a:pt x="2436" y="695"/>
                    </a:lnTo>
                    <a:lnTo>
                      <a:pt x="2436" y="20"/>
                    </a:lnTo>
                    <a:lnTo>
                      <a:pt x="2265" y="20"/>
                    </a:lnTo>
                    <a:lnTo>
                      <a:pt x="2265" y="349"/>
                    </a:lnTo>
                    <a:lnTo>
                      <a:pt x="1928" y="20"/>
                    </a:lnTo>
                    <a:lnTo>
                      <a:pt x="1823" y="20"/>
                    </a:lnTo>
                    <a:lnTo>
                      <a:pt x="1823" y="695"/>
                    </a:lnTo>
                    <a:lnTo>
                      <a:pt x="1993" y="695"/>
                    </a:lnTo>
                    <a:lnTo>
                      <a:pt x="1993" y="352"/>
                    </a:lnTo>
                    <a:lnTo>
                      <a:pt x="2343" y="695"/>
                    </a:lnTo>
                    <a:close/>
                    <a:moveTo>
                      <a:pt x="2969" y="542"/>
                    </a:moveTo>
                    <a:lnTo>
                      <a:pt x="2969" y="428"/>
                    </a:lnTo>
                    <a:lnTo>
                      <a:pt x="3268" y="428"/>
                    </a:lnTo>
                    <a:lnTo>
                      <a:pt x="3268" y="283"/>
                    </a:lnTo>
                    <a:lnTo>
                      <a:pt x="2969" y="283"/>
                    </a:lnTo>
                    <a:lnTo>
                      <a:pt x="2969" y="168"/>
                    </a:lnTo>
                    <a:lnTo>
                      <a:pt x="3308" y="168"/>
                    </a:lnTo>
                    <a:lnTo>
                      <a:pt x="3308" y="20"/>
                    </a:lnTo>
                    <a:lnTo>
                      <a:pt x="2788" y="20"/>
                    </a:lnTo>
                    <a:lnTo>
                      <a:pt x="2788" y="695"/>
                    </a:lnTo>
                    <a:lnTo>
                      <a:pt x="3308" y="695"/>
                    </a:lnTo>
                    <a:lnTo>
                      <a:pt x="3308" y="542"/>
                    </a:lnTo>
                    <a:lnTo>
                      <a:pt x="2969" y="5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eaLnBrk="1"/>
                <a:endParaRPr lang="en-US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3424692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 (nega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marR="0" indent="0" algn="r" defTabSz="914309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4" cy="4608513"/>
          </a:xfrm>
        </p:spPr>
        <p:txBody>
          <a:bodyPr/>
          <a:lstStyle>
            <a:lvl1pPr>
              <a:lnSpc>
                <a:spcPct val="12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lnSpc>
                <a:spcPct val="12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lnSpc>
                <a:spcPct val="12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3846F20-CFBF-4D70-B828-C8B5E4FBE129}" type="datetime3">
              <a:rPr lang="en-US" smtClean="0"/>
              <a:t>11 June 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bg1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404813"/>
            <a:ext cx="10367963" cy="5046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6401" y="403200"/>
            <a:ext cx="720000" cy="3636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958398482"/>
      </p:ext>
    </p:extLst>
  </p:cSld>
  <p:clrMapOvr>
    <a:masterClrMapping/>
  </p:clrMapOvr>
  <p:transition spd="med"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ogan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C1224B9-B73B-419F-9DB4-CA8349308F41}" type="datetime3">
              <a:rPr lang="en-US" smtClean="0"/>
              <a:t>11 June 2020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 dirty="0"/>
              <a:t>Confidential  |  © KONE Corporation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9"/>
          </p:nvPr>
        </p:nvSpPr>
        <p:spPr>
          <a:xfrm>
            <a:off x="0" y="0"/>
            <a:ext cx="12195175" cy="68595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4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8143937" y="5733289"/>
            <a:ext cx="3641400" cy="504000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 dirty="0"/>
              <a:t>KONE logo</a:t>
            </a:r>
          </a:p>
        </p:txBody>
      </p:sp>
    </p:spTree>
    <p:extLst>
      <p:ext uri="{BB962C8B-B14F-4D97-AF65-F5344CB8AC3E}">
        <p14:creationId xmlns:p14="http://schemas.microsoft.com/office/powerpoint/2010/main" val="3542237353"/>
      </p:ext>
    </p:extLst>
  </p:cSld>
  <p:clrMapOvr>
    <a:masterClrMapping/>
  </p:clrMapOvr>
  <p:transition spd="med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5"/>
            <a:ext cx="10367964" cy="460851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8D59A-BE80-40CC-B879-51BC8D698C3A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661" indent="0">
              <a:buNone/>
              <a:defRPr sz="2701" b="1"/>
            </a:lvl2pPr>
            <a:lvl3pPr marL="1219322" indent="0">
              <a:buNone/>
              <a:defRPr sz="2400" b="1"/>
            </a:lvl3pPr>
            <a:lvl4pPr marL="1828983" indent="0">
              <a:buNone/>
              <a:defRPr sz="2100" b="1"/>
            </a:lvl4pPr>
            <a:lvl5pPr marL="2438644" indent="0">
              <a:buNone/>
              <a:defRPr sz="2100" b="1"/>
            </a:lvl5pPr>
            <a:lvl6pPr marL="3048305" indent="0">
              <a:buNone/>
              <a:defRPr sz="2100" b="1"/>
            </a:lvl6pPr>
            <a:lvl7pPr marL="3657966" indent="0">
              <a:buNone/>
              <a:defRPr sz="2100" b="1"/>
            </a:lvl7pPr>
            <a:lvl8pPr marL="4267626" indent="0">
              <a:buNone/>
              <a:defRPr sz="2100" b="1"/>
            </a:lvl8pPr>
            <a:lvl9pPr marL="487728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4"/>
            <a:ext cx="10367963" cy="5046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53386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Content R and who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 sz="1000"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097587" y="0"/>
            <a:ext cx="6097588" cy="6859588"/>
          </a:xfrm>
          <a:solidFill>
            <a:srgbClr val="FFFFFF">
              <a:alpha val="89804"/>
            </a:srgbClr>
          </a:solidFill>
        </p:spPr>
        <p:txBody>
          <a:bodyPr lIns="413876" tIns="395881" rIns="395881" bIns="3132000" anchor="t" anchorCtr="0"/>
          <a:lstStyle>
            <a:lvl1pPr>
              <a:defRPr sz="3201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9"/>
          </p:nvPr>
        </p:nvSpPr>
        <p:spPr>
          <a:xfrm>
            <a:off x="6507164" y="1629152"/>
            <a:ext cx="5256213" cy="4608137"/>
          </a:xfrm>
        </p:spPr>
        <p:txBody>
          <a:bodyPr/>
          <a:lstStyle>
            <a:lvl1pPr>
              <a:buClrTx/>
              <a:defRPr>
                <a:solidFill>
                  <a:schemeClr val="tx2"/>
                </a:solidFill>
              </a:defRPr>
            </a:lvl1pPr>
            <a:lvl2pPr>
              <a:buClrTx/>
              <a:defRPr>
                <a:solidFill>
                  <a:schemeClr val="tx2"/>
                </a:solidFill>
              </a:defRPr>
            </a:lvl2pPr>
            <a:lvl3pPr>
              <a:buClrTx/>
              <a:defRPr>
                <a:solidFill>
                  <a:schemeClr val="tx2"/>
                </a:solidFill>
              </a:defRPr>
            </a:lvl3pPr>
            <a:lvl4pPr>
              <a:buClrTx/>
              <a:defRPr>
                <a:solidFill>
                  <a:schemeClr val="tx2"/>
                </a:solidFill>
              </a:defRPr>
            </a:lvl4pPr>
            <a:lvl5pPr>
              <a:buClrTx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fld id="{E8A07C10-C0F7-4F99-B48B-4C35EB6E50A0}" type="datetime3">
              <a:rPr lang="en-US" smtClean="0">
                <a:solidFill>
                  <a:srgbClr val="FFFFFF"/>
                </a:solidFill>
                <a:latin typeface="Arial"/>
              </a:rPr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t>11 June 2020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fld id="{604FC64F-66B6-486E-8EFE-9FD96A66D16B}" type="slidenum">
              <a:rPr lang="en-US" smtClean="0">
                <a:solidFill>
                  <a:srgbClr val="FFFFFF"/>
                </a:solidFill>
                <a:latin typeface="Arial"/>
              </a:rPr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71B9"/>
                </a:solidFill>
                <a:latin typeface="Arial"/>
              </a:rPr>
              <a:t>Confidential  |  © KONE Corporation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6529748" y="909444"/>
            <a:ext cx="5257334" cy="43206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661" indent="0">
              <a:buNone/>
              <a:defRPr sz="2701" b="1"/>
            </a:lvl2pPr>
            <a:lvl3pPr marL="1219322" indent="0">
              <a:buNone/>
              <a:defRPr sz="2400" b="1"/>
            </a:lvl3pPr>
            <a:lvl4pPr marL="1828983" indent="0">
              <a:buNone/>
              <a:defRPr sz="2100" b="1"/>
            </a:lvl4pPr>
            <a:lvl5pPr marL="2438644" indent="0">
              <a:buNone/>
              <a:defRPr sz="2100" b="1"/>
            </a:lvl5pPr>
            <a:lvl6pPr marL="3048305" indent="0">
              <a:buNone/>
              <a:defRPr sz="2100" b="1"/>
            </a:lvl6pPr>
            <a:lvl7pPr marL="3657966" indent="0">
              <a:buNone/>
              <a:defRPr sz="2100" b="1"/>
            </a:lvl7pPr>
            <a:lvl8pPr marL="4267626" indent="0">
              <a:buNone/>
              <a:defRPr sz="2100" b="1"/>
            </a:lvl8pPr>
            <a:lvl9pPr marL="4877287" indent="0">
              <a:buNone/>
              <a:defRPr sz="21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46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BDE53D-220B-45EB-8C7A-940C8880CD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7175" cy="23891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92095AD-3454-4D7D-91F1-812BF51CADF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3625"/>
            <a:ext cx="9147175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37C593-331A-4CF6-BD82-C226447C13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44F65E-6ED6-4942-BF07-FA09B458ACF5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1996C1-B6EE-4FBD-89C5-702882A7BA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713E8D5-1C53-4C01-86BF-A59149336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637084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12195175" cy="6859588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marR="0" indent="0" algn="l" defTabSz="914309" rtl="0" eaLnBrk="1" fontAlgn="base" latinLnBrk="0" hangingPunct="1">
              <a:lnSpc>
                <a:spcPct val="12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Tx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change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4A07957A-D53F-4B6A-B6A2-38A4CDA49F0E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6"/>
          <p:cNvSpPr>
            <a:spLocks noGrp="1" noChangeAspect="1"/>
          </p:cNvSpPr>
          <p:nvPr>
            <p:ph type="body" sz="quarter" idx="17" hasCustomPrompt="1"/>
          </p:nvPr>
        </p:nvSpPr>
        <p:spPr>
          <a:xfrm>
            <a:off x="11066401" y="403200"/>
            <a:ext cx="720000" cy="3636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 sz="200">
                <a:noFill/>
              </a:defRPr>
            </a:lvl1pPr>
          </a:lstStyle>
          <a:p>
            <a:pPr lvl="0"/>
            <a:r>
              <a:rPr lang="en-US"/>
              <a:t>KONE logo</a:t>
            </a:r>
          </a:p>
        </p:txBody>
      </p:sp>
      <p:sp>
        <p:nvSpPr>
          <p:cNvPr id="9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09576" y="4214554"/>
            <a:ext cx="10367962" cy="1302009"/>
          </a:xfrm>
          <a:prstGeom prst="rect">
            <a:avLst/>
          </a:prstGeom>
        </p:spPr>
        <p:txBody>
          <a:bodyPr anchor="b" anchorCtr="0"/>
          <a:lstStyle>
            <a:lvl1pPr>
              <a:defRPr sz="4001" cap="none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</a:defRPr>
            </a:lvl1pPr>
          </a:lstStyle>
          <a:p>
            <a:pPr lvl="0"/>
            <a:r>
              <a:rPr lang="en-US" noProof="0"/>
              <a:t>Add title text</a:t>
            </a:r>
          </a:p>
        </p:txBody>
      </p:sp>
      <p:sp>
        <p:nvSpPr>
          <p:cNvPr id="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576" y="5589588"/>
            <a:ext cx="10367963" cy="647700"/>
          </a:xfrm>
          <a:prstGeom prst="rect">
            <a:avLst/>
          </a:prstGeo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30000"/>
                    </a:prstClr>
                  </a:outerShdw>
                </a:effectLst>
                <a:uFillTx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0682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475" imgH="476" progId="TCLayout.ActiveDocument.1">
                  <p:embed/>
                </p:oleObj>
              </mc:Choice>
              <mc:Fallback>
                <p:oleObj name="think-cell Slide" r:id="rId4" imgW="475" imgH="47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5"/>
            <a:ext cx="10367964" cy="460851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8D59A-BE80-40CC-B879-51BC8D698C3A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661" indent="0">
              <a:buNone/>
              <a:defRPr sz="2701" b="1"/>
            </a:lvl2pPr>
            <a:lvl3pPr marL="1219322" indent="0">
              <a:buNone/>
              <a:defRPr sz="2400" b="1"/>
            </a:lvl3pPr>
            <a:lvl4pPr marL="1828983" indent="0">
              <a:buNone/>
              <a:defRPr sz="2100" b="1"/>
            </a:lvl4pPr>
            <a:lvl5pPr marL="2438644" indent="0">
              <a:buNone/>
              <a:defRPr sz="2100" b="1"/>
            </a:lvl5pPr>
            <a:lvl6pPr marL="3048305" indent="0">
              <a:buNone/>
              <a:defRPr sz="2100" b="1"/>
            </a:lvl6pPr>
            <a:lvl7pPr marL="3657966" indent="0">
              <a:buNone/>
              <a:defRPr sz="2100" b="1"/>
            </a:lvl7pPr>
            <a:lvl8pPr marL="4267626" indent="0">
              <a:buNone/>
              <a:defRPr sz="2100" b="1"/>
            </a:lvl8pPr>
            <a:lvl9pPr marL="4877287" indent="0">
              <a:buNone/>
              <a:defRPr sz="21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6" y="404814"/>
            <a:ext cx="10367963" cy="5046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2265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B2B245-2248-4C7C-8F81-F1B0B3415A21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437307690"/>
      </p:ext>
    </p:extLst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10367964" cy="4608513"/>
          </a:xfrm>
        </p:spPr>
        <p:txBody>
          <a:bodyPr/>
          <a:lstStyle>
            <a:lvl1pPr>
              <a:lnSpc>
                <a:spcPct val="120000"/>
              </a:lnSpc>
              <a:defRPr/>
            </a:lvl1pPr>
            <a:lvl2pPr>
              <a:lnSpc>
                <a:spcPct val="120000"/>
              </a:lnSpc>
              <a:defRPr/>
            </a:lvl2pPr>
            <a:lvl3pPr>
              <a:lnSpc>
                <a:spcPct val="120000"/>
              </a:lnSpc>
              <a:defRPr/>
            </a:lvl3pPr>
            <a:lvl4pPr>
              <a:lnSpc>
                <a:spcPct val="120000"/>
              </a:lnSpc>
              <a:defRPr/>
            </a:lvl4pPr>
            <a:lvl5pPr>
              <a:lnSpc>
                <a:spcPct val="1200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E1A296-6FA2-479E-AA66-2E0A374152A4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</p:spPr>
        <p:txBody>
          <a:bodyPr anchor="t" anchorCtr="0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u="none" cap="all" spc="0" baseline="0">
                <a:solidFill>
                  <a:schemeClr val="tx2"/>
                </a:solidFill>
                <a:uFillTx/>
              </a:defRPr>
            </a:lvl1pPr>
            <a:lvl2pPr marL="609722" indent="0">
              <a:buNone/>
              <a:defRPr sz="2700" b="1"/>
            </a:lvl2pPr>
            <a:lvl3pPr marL="1219444" indent="0">
              <a:buNone/>
              <a:defRPr sz="2400" b="1"/>
            </a:lvl3pPr>
            <a:lvl4pPr marL="1829166" indent="0">
              <a:buNone/>
              <a:defRPr sz="2100" b="1"/>
            </a:lvl4pPr>
            <a:lvl5pPr marL="2438888" indent="0">
              <a:buNone/>
              <a:defRPr sz="2100" b="1"/>
            </a:lvl5pPr>
            <a:lvl6pPr marL="3048610" indent="0">
              <a:buNone/>
              <a:defRPr sz="2100" b="1"/>
            </a:lvl6pPr>
            <a:lvl7pPr marL="3658332" indent="0">
              <a:buNone/>
              <a:defRPr sz="2100" b="1"/>
            </a:lvl7pPr>
            <a:lvl8pPr marL="4268053" indent="0">
              <a:buNone/>
              <a:defRPr sz="2100" b="1"/>
            </a:lvl8pPr>
            <a:lvl9pPr marL="4877775" indent="0">
              <a:buNone/>
              <a:defRPr sz="21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575" y="404813"/>
            <a:ext cx="10367963" cy="50463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8147195"/>
      </p:ext>
    </p:extLst>
  </p:cSld>
  <p:clrMapOvr>
    <a:masterClrMapping/>
  </p:clrMapOvr>
  <p:transition spd="med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5D043B-E3EA-455A-97A5-1945D51B06F5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837857401"/>
      </p:ext>
    </p:extLst>
  </p:cSld>
  <p:clrMapOvr>
    <a:masterClrMapping/>
  </p:clrMapOvr>
  <p:transition spd="med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Picture 1/2 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i-FI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7A2080-E1AE-4C08-90B7-F7BEBC9BFDE2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09575" y="1628774"/>
            <a:ext cx="6264092" cy="460851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fi-FI" dirty="0"/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7033717" y="1628774"/>
            <a:ext cx="4751883" cy="460851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866866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0F98ECBE-9C96-49FF-B400-C78C5969A29B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-1" y="0"/>
            <a:ext cx="12195175" cy="6859588"/>
          </a:xfrm>
          <a:noFill/>
        </p:spPr>
        <p:txBody>
          <a:bodyPr lIns="414000" tIns="5004000" rIns="396000" bIns="396000" anchor="t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576" y="4149895"/>
            <a:ext cx="10367962" cy="7201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6389856"/>
      </p:ext>
    </p:extLst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15CFDEEE-EF7D-44AF-8D90-9D4547D1FBBA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-1" y="0"/>
            <a:ext cx="12195175" cy="6859588"/>
          </a:xfrm>
          <a:noFill/>
        </p:spPr>
        <p:txBody>
          <a:bodyPr lIns="414000" tIns="5004000" rIns="396000" bIns="396000" anchor="t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576" y="4149895"/>
            <a:ext cx="10367962" cy="720100"/>
          </a:xfrm>
        </p:spPr>
        <p:txBody>
          <a:bodyPr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46898379"/>
      </p:ext>
    </p:extLst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54D47390-85D1-477D-AF60-454C4F004766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7588" cy="6859588"/>
          </a:xfrm>
          <a:solidFill>
            <a:srgbClr val="0071B9">
              <a:alpha val="85000"/>
            </a:srgbClr>
          </a:solidFill>
        </p:spPr>
        <p:txBody>
          <a:bodyPr lIns="414000" tIns="396000" rIns="396000" bIns="1332000" anchor="b" anchorCtr="0"/>
          <a:lstStyle>
            <a:lvl1pPr>
              <a:defRPr sz="4000" cap="none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575" y="5589588"/>
            <a:ext cx="5255953" cy="647699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bg1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40808087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hite (pictur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CE1F9865-E01F-4205-87BB-DD8A79837578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8194" name="Rectangle 2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0" y="0"/>
            <a:ext cx="6097588" cy="6859588"/>
          </a:xfrm>
          <a:solidFill>
            <a:schemeClr val="bg1">
              <a:alpha val="85000"/>
            </a:schemeClr>
          </a:solidFill>
        </p:spPr>
        <p:txBody>
          <a:bodyPr lIns="414000" tIns="396000" rIns="396000" bIns="1332000" anchor="b" anchorCtr="0"/>
          <a:lstStyle>
            <a:lvl1pPr>
              <a:defRPr sz="4000" cap="none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noProof="0" dirty="0"/>
              <a:t>Add title text</a:t>
            </a:r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09575" y="5589588"/>
            <a:ext cx="5255953" cy="647699"/>
          </a:xfrm>
        </p:spPr>
        <p:txBody>
          <a:bodyPr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Wingdings" pitchFamily="2" charset="2"/>
              <a:buNone/>
              <a:defRPr sz="2000" u="none" cap="all" baseline="0">
                <a:solidFill>
                  <a:schemeClr val="tx2"/>
                </a:solidFill>
                <a:effectLst/>
                <a:uFillTx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316756046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7FA33A7E-2F40-4292-B23B-97D323CCE670}" type="datetime3">
              <a:rPr lang="en-US" smtClean="0"/>
              <a:t>11 June 2020</a:t>
            </a:fld>
            <a:endParaRPr lang="en-US"/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0" y="0"/>
            <a:ext cx="12195175" cy="6859588"/>
          </a:xfrm>
          <a:solidFill>
            <a:schemeClr val="bg1">
              <a:lumMod val="75000"/>
            </a:schemeClr>
          </a:solid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8350" y="0"/>
            <a:ext cx="3600997" cy="6859588"/>
          </a:xfrm>
          <a:solidFill>
            <a:srgbClr val="FEFEFE">
              <a:alpha val="85098"/>
            </a:srgbClr>
          </a:solidFill>
          <a:ln>
            <a:noFill/>
          </a:ln>
          <a:effectLst/>
        </p:spPr>
        <p:txBody>
          <a:bodyPr vert="horz" wrap="square" lIns="216043" tIns="216043" rIns="216043" bIns="453600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fi-FI" sz="2400" cap="none" spc="0" baseline="0">
                <a:solidFill>
                  <a:schemeClr val="hlink"/>
                </a:solidFill>
              </a:defRPr>
            </a:lvl1pPr>
          </a:lstStyle>
          <a:p>
            <a:pPr lvl="0"/>
            <a:r>
              <a:rPr lang="en-US" dirty="0"/>
              <a:t>Click to edit Master title style</a:t>
            </a:r>
            <a:endParaRPr lang="fi-FI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984250" y="2493664"/>
            <a:ext cx="3169067" cy="3959524"/>
          </a:xfrm>
        </p:spPr>
        <p:txBody>
          <a:bodyPr/>
          <a:lstStyle>
            <a:lvl1pPr marL="0" indent="0">
              <a:lnSpc>
                <a:spcPct val="120000"/>
              </a:lnSpc>
              <a:spcBef>
                <a:spcPts val="400"/>
              </a:spcBef>
              <a:buNone/>
              <a:defRPr sz="1600">
                <a:solidFill>
                  <a:schemeClr val="tx2"/>
                </a:solidFill>
              </a:defRPr>
            </a:lvl1pPr>
            <a:lvl2pPr marL="266700" indent="-266700">
              <a:lnSpc>
                <a:spcPct val="120000"/>
              </a:lnSpc>
              <a:spcBef>
                <a:spcPts val="400"/>
              </a:spcBef>
              <a:buFont typeface="Wingdings" pitchFamily="2" charset="2"/>
              <a:buChar char="§"/>
              <a:defRPr sz="1600">
                <a:solidFill>
                  <a:schemeClr val="tx2"/>
                </a:solidFill>
              </a:defRPr>
            </a:lvl2pPr>
            <a:lvl3pPr marL="539750" indent="-273050">
              <a:lnSpc>
                <a:spcPct val="120000"/>
              </a:lnSpc>
              <a:spcBef>
                <a:spcPts val="400"/>
              </a:spcBef>
              <a:defRPr sz="1400">
                <a:solidFill>
                  <a:schemeClr val="tx2"/>
                </a:solidFill>
              </a:defRPr>
            </a:lvl3pPr>
            <a:lvl4pPr marL="806450" indent="-266700">
              <a:lnSpc>
                <a:spcPct val="120000"/>
              </a:lnSpc>
              <a:spcBef>
                <a:spcPts val="400"/>
              </a:spcBef>
              <a:defRPr sz="1200">
                <a:solidFill>
                  <a:schemeClr val="tx2"/>
                </a:solidFill>
              </a:defRPr>
            </a:lvl4pPr>
            <a:lvl5pPr marL="1071563" indent="-265113">
              <a:lnSpc>
                <a:spcPct val="120000"/>
              </a:lnSpc>
              <a:spcBef>
                <a:spcPts val="400"/>
              </a:spcBef>
              <a:defRPr sz="12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3999871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vmlDrawing" Target="../drawings/vmlDrawing1.v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7" Type="http://schemas.openxmlformats.org/officeDocument/2006/relationships/image" Target="../media/image6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6.xml"/><Relationship Id="rId6" Type="http://schemas.openxmlformats.org/officeDocument/2006/relationships/oleObject" Target="../embeddings/oleObject3.bin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3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vmlDrawing" Target="../drawings/vmlDrawing4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slideLayout" Target="../slideLayouts/slideLayout41.xml"/><Relationship Id="rId7" Type="http://schemas.openxmlformats.org/officeDocument/2006/relationships/tags" Target="../tags/tag11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tags" Target="../tags/tag10.xml"/><Relationship Id="rId5" Type="http://schemas.openxmlformats.org/officeDocument/2006/relationships/vmlDrawing" Target="../drawings/vmlDrawing6.vml"/><Relationship Id="rId4" Type="http://schemas.openxmlformats.org/officeDocument/2006/relationships/theme" Target="../theme/theme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CB662C-EEF5-443A-844F-9A1D4052E4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8"/>
            </p:custDataLst>
            <p:extLst>
              <p:ext uri="{D42A27DB-BD31-4B8C-83A1-F6EECF244321}">
                <p14:modId xmlns:p14="http://schemas.microsoft.com/office/powerpoint/2010/main" val="30872460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40" imgW="396" imgH="396" progId="TCLayout.ActiveDocument.1">
                  <p:embed/>
                </p:oleObj>
              </mc:Choice>
              <mc:Fallback>
                <p:oleObj name="think-cell Slide" r:id="rId40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CB662C-EEF5-443A-844F-9A1D4052E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F0533F-5C6E-4770-B4A4-628455CCAE16}"/>
              </a:ext>
            </a:extLst>
          </p:cNvPr>
          <p:cNvSpPr/>
          <p:nvPr userDrawn="1">
            <p:custDataLst>
              <p:tags r:id="rId3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9576" y="404813"/>
            <a:ext cx="10368662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9575" y="1628774"/>
            <a:ext cx="10367963" cy="460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49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4" y="6453188"/>
            <a:ext cx="165625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87C834DF-162B-4F97-B720-132DD752BC54}" type="datetime3">
              <a:rPr lang="en-US" smtClean="0"/>
              <a:t>11 June 2020</a:t>
            </a:fld>
            <a:endParaRPr lang="en-US" dirty="0"/>
          </a:p>
        </p:txBody>
      </p:sp>
      <p:sp>
        <p:nvSpPr>
          <p:cNvPr id="1050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2197" y="6453188"/>
            <a:ext cx="9433403" cy="145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051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11065600" y="404813"/>
            <a:ext cx="720000" cy="364287"/>
          </a:xfrm>
          <a:custGeom>
            <a:avLst/>
            <a:gdLst>
              <a:gd name="T0" fmla="*/ 3275 w 3275"/>
              <a:gd name="T1" fmla="*/ 1657 h 1657"/>
              <a:gd name="T2" fmla="*/ 2824 w 3275"/>
              <a:gd name="T3" fmla="*/ 1002 h 1657"/>
              <a:gd name="T4" fmla="*/ 3134 w 3275"/>
              <a:gd name="T5" fmla="*/ 660 h 1657"/>
              <a:gd name="T6" fmla="*/ 2824 w 3275"/>
              <a:gd name="T7" fmla="*/ 1002 h 1657"/>
              <a:gd name="T8" fmla="*/ 1600 w 3275"/>
              <a:gd name="T9" fmla="*/ 1657 h 1657"/>
              <a:gd name="T10" fmla="*/ 1378 w 3275"/>
              <a:gd name="T11" fmla="*/ 829 h 1657"/>
              <a:gd name="T12" fmla="*/ 1371 w 3275"/>
              <a:gd name="T13" fmla="*/ 884 h 1657"/>
              <a:gd name="T14" fmla="*/ 1347 w 3275"/>
              <a:gd name="T15" fmla="*/ 938 h 1657"/>
              <a:gd name="T16" fmla="*/ 1315 w 3275"/>
              <a:gd name="T17" fmla="*/ 973 h 1657"/>
              <a:gd name="T18" fmla="*/ 1267 w 3275"/>
              <a:gd name="T19" fmla="*/ 999 h 1657"/>
              <a:gd name="T20" fmla="*/ 1202 w 3275"/>
              <a:gd name="T21" fmla="*/ 1005 h 1657"/>
              <a:gd name="T22" fmla="*/ 1156 w 3275"/>
              <a:gd name="T23" fmla="*/ 993 h 1657"/>
              <a:gd name="T24" fmla="*/ 1117 w 3275"/>
              <a:gd name="T25" fmla="*/ 968 h 1657"/>
              <a:gd name="T26" fmla="*/ 1083 w 3275"/>
              <a:gd name="T27" fmla="*/ 924 h 1657"/>
              <a:gd name="T28" fmla="*/ 1065 w 3275"/>
              <a:gd name="T29" fmla="*/ 876 h 1657"/>
              <a:gd name="T30" fmla="*/ 1061 w 3275"/>
              <a:gd name="T31" fmla="*/ 818 h 1657"/>
              <a:gd name="T32" fmla="*/ 1070 w 3275"/>
              <a:gd name="T33" fmla="*/ 764 h 1657"/>
              <a:gd name="T34" fmla="*/ 1096 w 3275"/>
              <a:gd name="T35" fmla="*/ 713 h 1657"/>
              <a:gd name="T36" fmla="*/ 1129 w 3275"/>
              <a:gd name="T37" fmla="*/ 680 h 1657"/>
              <a:gd name="T38" fmla="*/ 1179 w 3275"/>
              <a:gd name="T39" fmla="*/ 656 h 1657"/>
              <a:gd name="T40" fmla="*/ 1243 w 3275"/>
              <a:gd name="T41" fmla="*/ 653 h 1657"/>
              <a:gd name="T42" fmla="*/ 1288 w 3275"/>
              <a:gd name="T43" fmla="*/ 667 h 1657"/>
              <a:gd name="T44" fmla="*/ 1326 w 3275"/>
              <a:gd name="T45" fmla="*/ 695 h 1657"/>
              <a:gd name="T46" fmla="*/ 1359 w 3275"/>
              <a:gd name="T47" fmla="*/ 741 h 1657"/>
              <a:gd name="T48" fmla="*/ 1374 w 3275"/>
              <a:gd name="T49" fmla="*/ 790 h 1657"/>
              <a:gd name="T50" fmla="*/ 1202 w 3275"/>
              <a:gd name="T51" fmla="*/ 506 h 1657"/>
              <a:gd name="T52" fmla="*/ 1106 w 3275"/>
              <a:gd name="T53" fmla="*/ 524 h 1657"/>
              <a:gd name="T54" fmla="*/ 1036 w 3275"/>
              <a:gd name="T55" fmla="*/ 557 h 1657"/>
              <a:gd name="T56" fmla="*/ 967 w 3275"/>
              <a:gd name="T57" fmla="*/ 617 h 1657"/>
              <a:gd name="T58" fmla="*/ 924 w 3275"/>
              <a:gd name="T59" fmla="*/ 683 h 1657"/>
              <a:gd name="T60" fmla="*/ 896 w 3275"/>
              <a:gd name="T61" fmla="*/ 776 h 1657"/>
              <a:gd name="T62" fmla="*/ 896 w 3275"/>
              <a:gd name="T63" fmla="*/ 881 h 1657"/>
              <a:gd name="T64" fmla="*/ 918 w 3275"/>
              <a:gd name="T65" fmla="*/ 960 h 1657"/>
              <a:gd name="T66" fmla="*/ 967 w 3275"/>
              <a:gd name="T67" fmla="*/ 1040 h 1657"/>
              <a:gd name="T68" fmla="*/ 1036 w 3275"/>
              <a:gd name="T69" fmla="*/ 1100 h 1657"/>
              <a:gd name="T70" fmla="*/ 1106 w 3275"/>
              <a:gd name="T71" fmla="*/ 1134 h 1657"/>
              <a:gd name="T72" fmla="*/ 1202 w 3275"/>
              <a:gd name="T73" fmla="*/ 1151 h 1657"/>
              <a:gd name="T74" fmla="*/ 1301 w 3275"/>
              <a:gd name="T75" fmla="*/ 1142 h 1657"/>
              <a:gd name="T76" fmla="*/ 1375 w 3275"/>
              <a:gd name="T77" fmla="*/ 1115 h 1657"/>
              <a:gd name="T78" fmla="*/ 1450 w 3275"/>
              <a:gd name="T79" fmla="*/ 1062 h 1657"/>
              <a:gd name="T80" fmla="*/ 1498 w 3275"/>
              <a:gd name="T81" fmla="*/ 1002 h 1657"/>
              <a:gd name="T82" fmla="*/ 1535 w 3275"/>
              <a:gd name="T83" fmla="*/ 914 h 1657"/>
              <a:gd name="T84" fmla="*/ 1545 w 3275"/>
              <a:gd name="T85" fmla="*/ 810 h 1657"/>
              <a:gd name="T86" fmla="*/ 1531 w 3275"/>
              <a:gd name="T87" fmla="*/ 727 h 1657"/>
              <a:gd name="T88" fmla="*/ 1490 w 3275"/>
              <a:gd name="T89" fmla="*/ 642 h 1657"/>
              <a:gd name="T90" fmla="*/ 1427 w 3275"/>
              <a:gd name="T91" fmla="*/ 575 h 1657"/>
              <a:gd name="T92" fmla="*/ 1354 w 3275"/>
              <a:gd name="T93" fmla="*/ 532 h 1657"/>
              <a:gd name="T94" fmla="*/ 1269 w 3275"/>
              <a:gd name="T95" fmla="*/ 509 h 1657"/>
              <a:gd name="T96" fmla="*/ 2436 w 3275"/>
              <a:gd name="T97" fmla="*/ 414 h 1657"/>
              <a:gd name="T98" fmla="*/ 1675 w 3275"/>
              <a:gd name="T99" fmla="*/ 829 h 1657"/>
              <a:gd name="T100" fmla="*/ 1776 w 3275"/>
              <a:gd name="T101" fmla="*/ 523 h 1657"/>
              <a:gd name="T102" fmla="*/ 2336 w 3275"/>
              <a:gd name="T103" fmla="*/ 523 h 1657"/>
              <a:gd name="T104" fmla="*/ 761 w 3275"/>
              <a:gd name="T105" fmla="*/ 1243 h 1657"/>
              <a:gd name="T106" fmla="*/ 0 w 3275"/>
              <a:gd name="T107" fmla="*/ 0 h 1657"/>
              <a:gd name="T108" fmla="*/ 278 w 3275"/>
              <a:gd name="T109" fmla="*/ 523 h 1657"/>
              <a:gd name="T110" fmla="*/ 699 w 3275"/>
              <a:gd name="T111" fmla="*/ 1142 h 1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75" h="1657">
                <a:moveTo>
                  <a:pt x="2513" y="0"/>
                </a:moveTo>
                <a:lnTo>
                  <a:pt x="3275" y="0"/>
                </a:lnTo>
                <a:lnTo>
                  <a:pt x="3275" y="414"/>
                </a:lnTo>
                <a:lnTo>
                  <a:pt x="3275" y="829"/>
                </a:lnTo>
                <a:lnTo>
                  <a:pt x="3275" y="1243"/>
                </a:lnTo>
                <a:lnTo>
                  <a:pt x="3275" y="1657"/>
                </a:lnTo>
                <a:lnTo>
                  <a:pt x="2513" y="1657"/>
                </a:lnTo>
                <a:lnTo>
                  <a:pt x="2513" y="1243"/>
                </a:lnTo>
                <a:lnTo>
                  <a:pt x="2513" y="829"/>
                </a:lnTo>
                <a:lnTo>
                  <a:pt x="2513" y="414"/>
                </a:lnTo>
                <a:lnTo>
                  <a:pt x="2513" y="0"/>
                </a:lnTo>
                <a:close/>
                <a:moveTo>
                  <a:pt x="2824" y="1002"/>
                </a:moveTo>
                <a:lnTo>
                  <a:pt x="2824" y="897"/>
                </a:lnTo>
                <a:lnTo>
                  <a:pt x="3096" y="897"/>
                </a:lnTo>
                <a:lnTo>
                  <a:pt x="3096" y="764"/>
                </a:lnTo>
                <a:lnTo>
                  <a:pt x="2824" y="764"/>
                </a:lnTo>
                <a:lnTo>
                  <a:pt x="2824" y="660"/>
                </a:lnTo>
                <a:lnTo>
                  <a:pt x="3134" y="660"/>
                </a:lnTo>
                <a:lnTo>
                  <a:pt x="3134" y="523"/>
                </a:lnTo>
                <a:lnTo>
                  <a:pt x="2658" y="523"/>
                </a:lnTo>
                <a:lnTo>
                  <a:pt x="2658" y="1142"/>
                </a:lnTo>
                <a:lnTo>
                  <a:pt x="3134" y="1142"/>
                </a:lnTo>
                <a:lnTo>
                  <a:pt x="3134" y="1002"/>
                </a:lnTo>
                <a:lnTo>
                  <a:pt x="2824" y="1002"/>
                </a:lnTo>
                <a:close/>
                <a:moveTo>
                  <a:pt x="838" y="0"/>
                </a:moveTo>
                <a:lnTo>
                  <a:pt x="1600" y="0"/>
                </a:lnTo>
                <a:lnTo>
                  <a:pt x="1600" y="414"/>
                </a:lnTo>
                <a:lnTo>
                  <a:pt x="1600" y="829"/>
                </a:lnTo>
                <a:lnTo>
                  <a:pt x="1600" y="1243"/>
                </a:lnTo>
                <a:lnTo>
                  <a:pt x="1600" y="1657"/>
                </a:lnTo>
                <a:lnTo>
                  <a:pt x="838" y="1657"/>
                </a:lnTo>
                <a:lnTo>
                  <a:pt x="838" y="1243"/>
                </a:lnTo>
                <a:lnTo>
                  <a:pt x="838" y="829"/>
                </a:lnTo>
                <a:lnTo>
                  <a:pt x="838" y="414"/>
                </a:lnTo>
                <a:lnTo>
                  <a:pt x="838" y="0"/>
                </a:lnTo>
                <a:close/>
                <a:moveTo>
                  <a:pt x="1378" y="829"/>
                </a:moveTo>
                <a:lnTo>
                  <a:pt x="1377" y="839"/>
                </a:lnTo>
                <a:lnTo>
                  <a:pt x="1377" y="848"/>
                </a:lnTo>
                <a:lnTo>
                  <a:pt x="1376" y="858"/>
                </a:lnTo>
                <a:lnTo>
                  <a:pt x="1374" y="867"/>
                </a:lnTo>
                <a:lnTo>
                  <a:pt x="1373" y="876"/>
                </a:lnTo>
                <a:lnTo>
                  <a:pt x="1371" y="884"/>
                </a:lnTo>
                <a:lnTo>
                  <a:pt x="1368" y="893"/>
                </a:lnTo>
                <a:lnTo>
                  <a:pt x="1365" y="901"/>
                </a:lnTo>
                <a:lnTo>
                  <a:pt x="1359" y="917"/>
                </a:lnTo>
                <a:lnTo>
                  <a:pt x="1355" y="924"/>
                </a:lnTo>
                <a:lnTo>
                  <a:pt x="1351" y="931"/>
                </a:lnTo>
                <a:lnTo>
                  <a:pt x="1347" y="938"/>
                </a:lnTo>
                <a:lnTo>
                  <a:pt x="1342" y="945"/>
                </a:lnTo>
                <a:lnTo>
                  <a:pt x="1337" y="951"/>
                </a:lnTo>
                <a:lnTo>
                  <a:pt x="1332" y="957"/>
                </a:lnTo>
                <a:lnTo>
                  <a:pt x="1326" y="963"/>
                </a:lnTo>
                <a:lnTo>
                  <a:pt x="1321" y="968"/>
                </a:lnTo>
                <a:lnTo>
                  <a:pt x="1315" y="973"/>
                </a:lnTo>
                <a:lnTo>
                  <a:pt x="1308" y="978"/>
                </a:lnTo>
                <a:lnTo>
                  <a:pt x="1295" y="986"/>
                </a:lnTo>
                <a:lnTo>
                  <a:pt x="1288" y="990"/>
                </a:lnTo>
                <a:lnTo>
                  <a:pt x="1281" y="993"/>
                </a:lnTo>
                <a:lnTo>
                  <a:pt x="1274" y="996"/>
                </a:lnTo>
                <a:lnTo>
                  <a:pt x="1267" y="999"/>
                </a:lnTo>
                <a:lnTo>
                  <a:pt x="1259" y="1001"/>
                </a:lnTo>
                <a:lnTo>
                  <a:pt x="1251" y="1003"/>
                </a:lnTo>
                <a:lnTo>
                  <a:pt x="1243" y="1004"/>
                </a:lnTo>
                <a:lnTo>
                  <a:pt x="1235" y="1005"/>
                </a:lnTo>
                <a:lnTo>
                  <a:pt x="1219" y="1006"/>
                </a:lnTo>
                <a:lnTo>
                  <a:pt x="1202" y="1005"/>
                </a:lnTo>
                <a:lnTo>
                  <a:pt x="1194" y="1004"/>
                </a:lnTo>
                <a:lnTo>
                  <a:pt x="1186" y="1003"/>
                </a:lnTo>
                <a:lnTo>
                  <a:pt x="1179" y="1001"/>
                </a:lnTo>
                <a:lnTo>
                  <a:pt x="1171" y="999"/>
                </a:lnTo>
                <a:lnTo>
                  <a:pt x="1164" y="996"/>
                </a:lnTo>
                <a:lnTo>
                  <a:pt x="1156" y="993"/>
                </a:lnTo>
                <a:lnTo>
                  <a:pt x="1149" y="990"/>
                </a:lnTo>
                <a:lnTo>
                  <a:pt x="1143" y="986"/>
                </a:lnTo>
                <a:lnTo>
                  <a:pt x="1136" y="982"/>
                </a:lnTo>
                <a:lnTo>
                  <a:pt x="1129" y="978"/>
                </a:lnTo>
                <a:lnTo>
                  <a:pt x="1123" y="973"/>
                </a:lnTo>
                <a:lnTo>
                  <a:pt x="1117" y="968"/>
                </a:lnTo>
                <a:lnTo>
                  <a:pt x="1112" y="963"/>
                </a:lnTo>
                <a:lnTo>
                  <a:pt x="1106" y="957"/>
                </a:lnTo>
                <a:lnTo>
                  <a:pt x="1096" y="945"/>
                </a:lnTo>
                <a:lnTo>
                  <a:pt x="1091" y="938"/>
                </a:lnTo>
                <a:lnTo>
                  <a:pt x="1087" y="931"/>
                </a:lnTo>
                <a:lnTo>
                  <a:pt x="1083" y="924"/>
                </a:lnTo>
                <a:lnTo>
                  <a:pt x="1079" y="917"/>
                </a:lnTo>
                <a:lnTo>
                  <a:pt x="1076" y="909"/>
                </a:lnTo>
                <a:lnTo>
                  <a:pt x="1073" y="901"/>
                </a:lnTo>
                <a:lnTo>
                  <a:pt x="1070" y="893"/>
                </a:lnTo>
                <a:lnTo>
                  <a:pt x="1067" y="884"/>
                </a:lnTo>
                <a:lnTo>
                  <a:pt x="1065" y="876"/>
                </a:lnTo>
                <a:lnTo>
                  <a:pt x="1063" y="867"/>
                </a:lnTo>
                <a:lnTo>
                  <a:pt x="1062" y="858"/>
                </a:lnTo>
                <a:lnTo>
                  <a:pt x="1061" y="848"/>
                </a:lnTo>
                <a:lnTo>
                  <a:pt x="1061" y="839"/>
                </a:lnTo>
                <a:lnTo>
                  <a:pt x="1060" y="829"/>
                </a:lnTo>
                <a:lnTo>
                  <a:pt x="1061" y="818"/>
                </a:lnTo>
                <a:lnTo>
                  <a:pt x="1061" y="809"/>
                </a:lnTo>
                <a:lnTo>
                  <a:pt x="1062" y="800"/>
                </a:lnTo>
                <a:lnTo>
                  <a:pt x="1063" y="790"/>
                </a:lnTo>
                <a:lnTo>
                  <a:pt x="1065" y="782"/>
                </a:lnTo>
                <a:lnTo>
                  <a:pt x="1067" y="773"/>
                </a:lnTo>
                <a:lnTo>
                  <a:pt x="1070" y="764"/>
                </a:lnTo>
                <a:lnTo>
                  <a:pt x="1073" y="756"/>
                </a:lnTo>
                <a:lnTo>
                  <a:pt x="1079" y="741"/>
                </a:lnTo>
                <a:lnTo>
                  <a:pt x="1083" y="733"/>
                </a:lnTo>
                <a:lnTo>
                  <a:pt x="1087" y="726"/>
                </a:lnTo>
                <a:lnTo>
                  <a:pt x="1091" y="719"/>
                </a:lnTo>
                <a:lnTo>
                  <a:pt x="1096" y="713"/>
                </a:lnTo>
                <a:lnTo>
                  <a:pt x="1101" y="706"/>
                </a:lnTo>
                <a:lnTo>
                  <a:pt x="1106" y="700"/>
                </a:lnTo>
                <a:lnTo>
                  <a:pt x="1112" y="695"/>
                </a:lnTo>
                <a:lnTo>
                  <a:pt x="1117" y="689"/>
                </a:lnTo>
                <a:lnTo>
                  <a:pt x="1123" y="684"/>
                </a:lnTo>
                <a:lnTo>
                  <a:pt x="1129" y="680"/>
                </a:lnTo>
                <a:lnTo>
                  <a:pt x="1143" y="671"/>
                </a:lnTo>
                <a:lnTo>
                  <a:pt x="1149" y="667"/>
                </a:lnTo>
                <a:lnTo>
                  <a:pt x="1156" y="664"/>
                </a:lnTo>
                <a:lnTo>
                  <a:pt x="1164" y="661"/>
                </a:lnTo>
                <a:lnTo>
                  <a:pt x="1171" y="659"/>
                </a:lnTo>
                <a:lnTo>
                  <a:pt x="1179" y="656"/>
                </a:lnTo>
                <a:lnTo>
                  <a:pt x="1186" y="655"/>
                </a:lnTo>
                <a:lnTo>
                  <a:pt x="1194" y="653"/>
                </a:lnTo>
                <a:lnTo>
                  <a:pt x="1202" y="652"/>
                </a:lnTo>
                <a:lnTo>
                  <a:pt x="1219" y="651"/>
                </a:lnTo>
                <a:lnTo>
                  <a:pt x="1235" y="652"/>
                </a:lnTo>
                <a:lnTo>
                  <a:pt x="1243" y="653"/>
                </a:lnTo>
                <a:lnTo>
                  <a:pt x="1251" y="655"/>
                </a:lnTo>
                <a:lnTo>
                  <a:pt x="1259" y="656"/>
                </a:lnTo>
                <a:lnTo>
                  <a:pt x="1267" y="659"/>
                </a:lnTo>
                <a:lnTo>
                  <a:pt x="1274" y="661"/>
                </a:lnTo>
                <a:lnTo>
                  <a:pt x="1281" y="664"/>
                </a:lnTo>
                <a:lnTo>
                  <a:pt x="1288" y="667"/>
                </a:lnTo>
                <a:lnTo>
                  <a:pt x="1295" y="671"/>
                </a:lnTo>
                <a:lnTo>
                  <a:pt x="1302" y="675"/>
                </a:lnTo>
                <a:lnTo>
                  <a:pt x="1308" y="680"/>
                </a:lnTo>
                <a:lnTo>
                  <a:pt x="1315" y="684"/>
                </a:lnTo>
                <a:lnTo>
                  <a:pt x="1321" y="689"/>
                </a:lnTo>
                <a:lnTo>
                  <a:pt x="1326" y="695"/>
                </a:lnTo>
                <a:lnTo>
                  <a:pt x="1332" y="700"/>
                </a:lnTo>
                <a:lnTo>
                  <a:pt x="1342" y="713"/>
                </a:lnTo>
                <a:lnTo>
                  <a:pt x="1347" y="719"/>
                </a:lnTo>
                <a:lnTo>
                  <a:pt x="1351" y="726"/>
                </a:lnTo>
                <a:lnTo>
                  <a:pt x="1355" y="733"/>
                </a:lnTo>
                <a:lnTo>
                  <a:pt x="1359" y="741"/>
                </a:lnTo>
                <a:lnTo>
                  <a:pt x="1362" y="748"/>
                </a:lnTo>
                <a:lnTo>
                  <a:pt x="1365" y="756"/>
                </a:lnTo>
                <a:lnTo>
                  <a:pt x="1368" y="764"/>
                </a:lnTo>
                <a:lnTo>
                  <a:pt x="1371" y="773"/>
                </a:lnTo>
                <a:lnTo>
                  <a:pt x="1373" y="782"/>
                </a:lnTo>
                <a:lnTo>
                  <a:pt x="1374" y="790"/>
                </a:lnTo>
                <a:lnTo>
                  <a:pt x="1376" y="800"/>
                </a:lnTo>
                <a:lnTo>
                  <a:pt x="1377" y="809"/>
                </a:lnTo>
                <a:lnTo>
                  <a:pt x="1377" y="818"/>
                </a:lnTo>
                <a:lnTo>
                  <a:pt x="1378" y="829"/>
                </a:lnTo>
                <a:close/>
                <a:moveTo>
                  <a:pt x="1219" y="506"/>
                </a:moveTo>
                <a:lnTo>
                  <a:pt x="1202" y="506"/>
                </a:lnTo>
                <a:lnTo>
                  <a:pt x="1185" y="507"/>
                </a:lnTo>
                <a:lnTo>
                  <a:pt x="1169" y="509"/>
                </a:lnTo>
                <a:lnTo>
                  <a:pt x="1153" y="512"/>
                </a:lnTo>
                <a:lnTo>
                  <a:pt x="1137" y="515"/>
                </a:lnTo>
                <a:lnTo>
                  <a:pt x="1122" y="519"/>
                </a:lnTo>
                <a:lnTo>
                  <a:pt x="1106" y="524"/>
                </a:lnTo>
                <a:lnTo>
                  <a:pt x="1092" y="529"/>
                </a:lnTo>
                <a:lnTo>
                  <a:pt x="1077" y="535"/>
                </a:lnTo>
                <a:lnTo>
                  <a:pt x="1070" y="538"/>
                </a:lnTo>
                <a:lnTo>
                  <a:pt x="1063" y="542"/>
                </a:lnTo>
                <a:lnTo>
                  <a:pt x="1049" y="549"/>
                </a:lnTo>
                <a:lnTo>
                  <a:pt x="1036" y="557"/>
                </a:lnTo>
                <a:lnTo>
                  <a:pt x="1023" y="566"/>
                </a:lnTo>
                <a:lnTo>
                  <a:pt x="1011" y="575"/>
                </a:lnTo>
                <a:lnTo>
                  <a:pt x="999" y="585"/>
                </a:lnTo>
                <a:lnTo>
                  <a:pt x="988" y="595"/>
                </a:lnTo>
                <a:lnTo>
                  <a:pt x="977" y="606"/>
                </a:lnTo>
                <a:lnTo>
                  <a:pt x="967" y="617"/>
                </a:lnTo>
                <a:lnTo>
                  <a:pt x="957" y="629"/>
                </a:lnTo>
                <a:lnTo>
                  <a:pt x="952" y="636"/>
                </a:lnTo>
                <a:lnTo>
                  <a:pt x="948" y="642"/>
                </a:lnTo>
                <a:lnTo>
                  <a:pt x="940" y="655"/>
                </a:lnTo>
                <a:lnTo>
                  <a:pt x="932" y="669"/>
                </a:lnTo>
                <a:lnTo>
                  <a:pt x="924" y="683"/>
                </a:lnTo>
                <a:lnTo>
                  <a:pt x="918" y="697"/>
                </a:lnTo>
                <a:lnTo>
                  <a:pt x="912" y="712"/>
                </a:lnTo>
                <a:lnTo>
                  <a:pt x="907" y="727"/>
                </a:lnTo>
                <a:lnTo>
                  <a:pt x="903" y="743"/>
                </a:lnTo>
                <a:lnTo>
                  <a:pt x="899" y="759"/>
                </a:lnTo>
                <a:lnTo>
                  <a:pt x="896" y="776"/>
                </a:lnTo>
                <a:lnTo>
                  <a:pt x="894" y="793"/>
                </a:lnTo>
                <a:lnTo>
                  <a:pt x="893" y="810"/>
                </a:lnTo>
                <a:lnTo>
                  <a:pt x="892" y="829"/>
                </a:lnTo>
                <a:lnTo>
                  <a:pt x="893" y="847"/>
                </a:lnTo>
                <a:lnTo>
                  <a:pt x="894" y="864"/>
                </a:lnTo>
                <a:lnTo>
                  <a:pt x="896" y="881"/>
                </a:lnTo>
                <a:lnTo>
                  <a:pt x="899" y="898"/>
                </a:lnTo>
                <a:lnTo>
                  <a:pt x="901" y="906"/>
                </a:lnTo>
                <a:lnTo>
                  <a:pt x="903" y="914"/>
                </a:lnTo>
                <a:lnTo>
                  <a:pt x="907" y="930"/>
                </a:lnTo>
                <a:lnTo>
                  <a:pt x="912" y="945"/>
                </a:lnTo>
                <a:lnTo>
                  <a:pt x="918" y="960"/>
                </a:lnTo>
                <a:lnTo>
                  <a:pt x="924" y="975"/>
                </a:lnTo>
                <a:lnTo>
                  <a:pt x="932" y="989"/>
                </a:lnTo>
                <a:lnTo>
                  <a:pt x="940" y="1002"/>
                </a:lnTo>
                <a:lnTo>
                  <a:pt x="948" y="1015"/>
                </a:lnTo>
                <a:lnTo>
                  <a:pt x="957" y="1028"/>
                </a:lnTo>
                <a:lnTo>
                  <a:pt x="967" y="1040"/>
                </a:lnTo>
                <a:lnTo>
                  <a:pt x="977" y="1051"/>
                </a:lnTo>
                <a:lnTo>
                  <a:pt x="988" y="1062"/>
                </a:lnTo>
                <a:lnTo>
                  <a:pt x="999" y="1072"/>
                </a:lnTo>
                <a:lnTo>
                  <a:pt x="1011" y="1082"/>
                </a:lnTo>
                <a:lnTo>
                  <a:pt x="1023" y="1091"/>
                </a:lnTo>
                <a:lnTo>
                  <a:pt x="1036" y="1100"/>
                </a:lnTo>
                <a:lnTo>
                  <a:pt x="1049" y="1108"/>
                </a:lnTo>
                <a:lnTo>
                  <a:pt x="1063" y="1115"/>
                </a:lnTo>
                <a:lnTo>
                  <a:pt x="1077" y="1122"/>
                </a:lnTo>
                <a:lnTo>
                  <a:pt x="1084" y="1125"/>
                </a:lnTo>
                <a:lnTo>
                  <a:pt x="1092" y="1128"/>
                </a:lnTo>
                <a:lnTo>
                  <a:pt x="1106" y="1134"/>
                </a:lnTo>
                <a:lnTo>
                  <a:pt x="1122" y="1138"/>
                </a:lnTo>
                <a:lnTo>
                  <a:pt x="1137" y="1142"/>
                </a:lnTo>
                <a:lnTo>
                  <a:pt x="1153" y="1146"/>
                </a:lnTo>
                <a:lnTo>
                  <a:pt x="1169" y="1148"/>
                </a:lnTo>
                <a:lnTo>
                  <a:pt x="1185" y="1150"/>
                </a:lnTo>
                <a:lnTo>
                  <a:pt x="1202" y="1151"/>
                </a:lnTo>
                <a:lnTo>
                  <a:pt x="1219" y="1152"/>
                </a:lnTo>
                <a:lnTo>
                  <a:pt x="1236" y="1151"/>
                </a:lnTo>
                <a:lnTo>
                  <a:pt x="1252" y="1150"/>
                </a:lnTo>
                <a:lnTo>
                  <a:pt x="1269" y="1148"/>
                </a:lnTo>
                <a:lnTo>
                  <a:pt x="1285" y="1146"/>
                </a:lnTo>
                <a:lnTo>
                  <a:pt x="1301" y="1142"/>
                </a:lnTo>
                <a:lnTo>
                  <a:pt x="1316" y="1138"/>
                </a:lnTo>
                <a:lnTo>
                  <a:pt x="1331" y="1134"/>
                </a:lnTo>
                <a:lnTo>
                  <a:pt x="1346" y="1128"/>
                </a:lnTo>
                <a:lnTo>
                  <a:pt x="1361" y="1122"/>
                </a:lnTo>
                <a:lnTo>
                  <a:pt x="1368" y="1119"/>
                </a:lnTo>
                <a:lnTo>
                  <a:pt x="1375" y="1115"/>
                </a:lnTo>
                <a:lnTo>
                  <a:pt x="1389" y="1108"/>
                </a:lnTo>
                <a:lnTo>
                  <a:pt x="1402" y="1100"/>
                </a:lnTo>
                <a:lnTo>
                  <a:pt x="1415" y="1091"/>
                </a:lnTo>
                <a:lnTo>
                  <a:pt x="1427" y="1082"/>
                </a:lnTo>
                <a:lnTo>
                  <a:pt x="1439" y="1072"/>
                </a:lnTo>
                <a:lnTo>
                  <a:pt x="1450" y="1062"/>
                </a:lnTo>
                <a:lnTo>
                  <a:pt x="1461" y="1051"/>
                </a:lnTo>
                <a:lnTo>
                  <a:pt x="1471" y="1040"/>
                </a:lnTo>
                <a:lnTo>
                  <a:pt x="1481" y="1028"/>
                </a:lnTo>
                <a:lnTo>
                  <a:pt x="1485" y="1022"/>
                </a:lnTo>
                <a:lnTo>
                  <a:pt x="1490" y="1015"/>
                </a:lnTo>
                <a:lnTo>
                  <a:pt x="1498" y="1002"/>
                </a:lnTo>
                <a:lnTo>
                  <a:pt x="1506" y="989"/>
                </a:lnTo>
                <a:lnTo>
                  <a:pt x="1513" y="975"/>
                </a:lnTo>
                <a:lnTo>
                  <a:pt x="1520" y="960"/>
                </a:lnTo>
                <a:lnTo>
                  <a:pt x="1526" y="945"/>
                </a:lnTo>
                <a:lnTo>
                  <a:pt x="1531" y="930"/>
                </a:lnTo>
                <a:lnTo>
                  <a:pt x="1535" y="914"/>
                </a:lnTo>
                <a:lnTo>
                  <a:pt x="1539" y="898"/>
                </a:lnTo>
                <a:lnTo>
                  <a:pt x="1542" y="881"/>
                </a:lnTo>
                <a:lnTo>
                  <a:pt x="1544" y="864"/>
                </a:lnTo>
                <a:lnTo>
                  <a:pt x="1545" y="847"/>
                </a:lnTo>
                <a:lnTo>
                  <a:pt x="1545" y="829"/>
                </a:lnTo>
                <a:lnTo>
                  <a:pt x="1545" y="810"/>
                </a:lnTo>
                <a:lnTo>
                  <a:pt x="1544" y="793"/>
                </a:lnTo>
                <a:lnTo>
                  <a:pt x="1542" y="776"/>
                </a:lnTo>
                <a:lnTo>
                  <a:pt x="1539" y="759"/>
                </a:lnTo>
                <a:lnTo>
                  <a:pt x="1537" y="751"/>
                </a:lnTo>
                <a:lnTo>
                  <a:pt x="1535" y="743"/>
                </a:lnTo>
                <a:lnTo>
                  <a:pt x="1531" y="727"/>
                </a:lnTo>
                <a:lnTo>
                  <a:pt x="1526" y="712"/>
                </a:lnTo>
                <a:lnTo>
                  <a:pt x="1520" y="697"/>
                </a:lnTo>
                <a:lnTo>
                  <a:pt x="1513" y="683"/>
                </a:lnTo>
                <a:lnTo>
                  <a:pt x="1506" y="669"/>
                </a:lnTo>
                <a:lnTo>
                  <a:pt x="1498" y="655"/>
                </a:lnTo>
                <a:lnTo>
                  <a:pt x="1490" y="642"/>
                </a:lnTo>
                <a:lnTo>
                  <a:pt x="1481" y="629"/>
                </a:lnTo>
                <a:lnTo>
                  <a:pt x="1471" y="617"/>
                </a:lnTo>
                <a:lnTo>
                  <a:pt x="1461" y="606"/>
                </a:lnTo>
                <a:lnTo>
                  <a:pt x="1450" y="595"/>
                </a:lnTo>
                <a:lnTo>
                  <a:pt x="1439" y="585"/>
                </a:lnTo>
                <a:lnTo>
                  <a:pt x="1427" y="575"/>
                </a:lnTo>
                <a:lnTo>
                  <a:pt x="1415" y="566"/>
                </a:lnTo>
                <a:lnTo>
                  <a:pt x="1402" y="557"/>
                </a:lnTo>
                <a:lnTo>
                  <a:pt x="1389" y="549"/>
                </a:lnTo>
                <a:lnTo>
                  <a:pt x="1375" y="542"/>
                </a:lnTo>
                <a:lnTo>
                  <a:pt x="1361" y="535"/>
                </a:lnTo>
                <a:lnTo>
                  <a:pt x="1354" y="532"/>
                </a:lnTo>
                <a:lnTo>
                  <a:pt x="1346" y="529"/>
                </a:lnTo>
                <a:lnTo>
                  <a:pt x="1331" y="524"/>
                </a:lnTo>
                <a:lnTo>
                  <a:pt x="1316" y="519"/>
                </a:lnTo>
                <a:lnTo>
                  <a:pt x="1301" y="515"/>
                </a:lnTo>
                <a:lnTo>
                  <a:pt x="1285" y="512"/>
                </a:lnTo>
                <a:lnTo>
                  <a:pt x="1269" y="509"/>
                </a:lnTo>
                <a:lnTo>
                  <a:pt x="1252" y="507"/>
                </a:lnTo>
                <a:lnTo>
                  <a:pt x="1236" y="506"/>
                </a:lnTo>
                <a:lnTo>
                  <a:pt x="1219" y="506"/>
                </a:lnTo>
                <a:close/>
                <a:moveTo>
                  <a:pt x="1675" y="0"/>
                </a:moveTo>
                <a:lnTo>
                  <a:pt x="2436" y="0"/>
                </a:lnTo>
                <a:lnTo>
                  <a:pt x="2436" y="414"/>
                </a:lnTo>
                <a:lnTo>
                  <a:pt x="2436" y="829"/>
                </a:lnTo>
                <a:lnTo>
                  <a:pt x="2436" y="1243"/>
                </a:lnTo>
                <a:lnTo>
                  <a:pt x="2436" y="1657"/>
                </a:lnTo>
                <a:lnTo>
                  <a:pt x="1675" y="1657"/>
                </a:lnTo>
                <a:lnTo>
                  <a:pt x="1675" y="1243"/>
                </a:lnTo>
                <a:lnTo>
                  <a:pt x="1675" y="829"/>
                </a:lnTo>
                <a:lnTo>
                  <a:pt x="1675" y="414"/>
                </a:lnTo>
                <a:lnTo>
                  <a:pt x="1675" y="0"/>
                </a:lnTo>
                <a:close/>
                <a:moveTo>
                  <a:pt x="2180" y="523"/>
                </a:moveTo>
                <a:lnTo>
                  <a:pt x="2180" y="825"/>
                </a:lnTo>
                <a:lnTo>
                  <a:pt x="1872" y="523"/>
                </a:lnTo>
                <a:lnTo>
                  <a:pt x="1776" y="523"/>
                </a:lnTo>
                <a:lnTo>
                  <a:pt x="1776" y="1142"/>
                </a:lnTo>
                <a:lnTo>
                  <a:pt x="1931" y="1142"/>
                </a:lnTo>
                <a:lnTo>
                  <a:pt x="1931" y="829"/>
                </a:lnTo>
                <a:lnTo>
                  <a:pt x="2251" y="1142"/>
                </a:lnTo>
                <a:lnTo>
                  <a:pt x="2336" y="1142"/>
                </a:lnTo>
                <a:lnTo>
                  <a:pt x="2336" y="523"/>
                </a:lnTo>
                <a:lnTo>
                  <a:pt x="2180" y="523"/>
                </a:lnTo>
                <a:close/>
                <a:moveTo>
                  <a:pt x="0" y="0"/>
                </a:moveTo>
                <a:lnTo>
                  <a:pt x="761" y="0"/>
                </a:lnTo>
                <a:lnTo>
                  <a:pt x="761" y="414"/>
                </a:lnTo>
                <a:lnTo>
                  <a:pt x="761" y="829"/>
                </a:lnTo>
                <a:lnTo>
                  <a:pt x="761" y="1243"/>
                </a:lnTo>
                <a:lnTo>
                  <a:pt x="761" y="1657"/>
                </a:lnTo>
                <a:lnTo>
                  <a:pt x="0" y="1657"/>
                </a:lnTo>
                <a:lnTo>
                  <a:pt x="0" y="1243"/>
                </a:lnTo>
                <a:lnTo>
                  <a:pt x="0" y="829"/>
                </a:lnTo>
                <a:lnTo>
                  <a:pt x="0" y="414"/>
                </a:lnTo>
                <a:lnTo>
                  <a:pt x="0" y="0"/>
                </a:lnTo>
                <a:close/>
                <a:moveTo>
                  <a:pt x="699" y="1142"/>
                </a:moveTo>
                <a:lnTo>
                  <a:pt x="454" y="814"/>
                </a:lnTo>
                <a:lnTo>
                  <a:pt x="683" y="523"/>
                </a:lnTo>
                <a:lnTo>
                  <a:pt x="485" y="523"/>
                </a:lnTo>
                <a:lnTo>
                  <a:pt x="278" y="793"/>
                </a:lnTo>
                <a:lnTo>
                  <a:pt x="278" y="523"/>
                </a:lnTo>
                <a:lnTo>
                  <a:pt x="110" y="523"/>
                </a:lnTo>
                <a:lnTo>
                  <a:pt x="110" y="1142"/>
                </a:lnTo>
                <a:lnTo>
                  <a:pt x="278" y="1142"/>
                </a:lnTo>
                <a:lnTo>
                  <a:pt x="278" y="850"/>
                </a:lnTo>
                <a:lnTo>
                  <a:pt x="493" y="1142"/>
                </a:lnTo>
                <a:lnTo>
                  <a:pt x="699" y="11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18" r:id="rId2"/>
    <p:sldLayoutId id="2147483654" r:id="rId3"/>
    <p:sldLayoutId id="2147483707" r:id="rId4"/>
    <p:sldLayoutId id="2147483726" r:id="rId5"/>
    <p:sldLayoutId id="2147483727" r:id="rId6"/>
    <p:sldLayoutId id="2147483724" r:id="rId7"/>
    <p:sldLayoutId id="2147483728" r:id="rId8"/>
    <p:sldLayoutId id="2147483735" r:id="rId9"/>
    <p:sldLayoutId id="2147483736" r:id="rId10"/>
    <p:sldLayoutId id="2147483730" r:id="rId11"/>
    <p:sldLayoutId id="2147483737" r:id="rId12"/>
    <p:sldLayoutId id="2147483739" r:id="rId13"/>
    <p:sldLayoutId id="2147483656" r:id="rId14"/>
    <p:sldLayoutId id="2147483657" r:id="rId15"/>
    <p:sldLayoutId id="2147483692" r:id="rId16"/>
    <p:sldLayoutId id="2147483693" r:id="rId17"/>
    <p:sldLayoutId id="2147483721" r:id="rId18"/>
    <p:sldLayoutId id="2147483722" r:id="rId19"/>
    <p:sldLayoutId id="2147483709" r:id="rId20"/>
    <p:sldLayoutId id="2147483696" r:id="rId21"/>
    <p:sldLayoutId id="2147483711" r:id="rId22"/>
    <p:sldLayoutId id="2147483713" r:id="rId23"/>
    <p:sldLayoutId id="2147483717" r:id="rId24"/>
    <p:sldLayoutId id="2147483706" r:id="rId25"/>
    <p:sldLayoutId id="2147483658" r:id="rId26"/>
    <p:sldLayoutId id="2147483701" r:id="rId27"/>
    <p:sldLayoutId id="2147483703" r:id="rId28"/>
    <p:sldLayoutId id="2147483723" r:id="rId29"/>
    <p:sldLayoutId id="2147483659" r:id="rId30"/>
    <p:sldLayoutId id="2147483731" r:id="rId31"/>
    <p:sldLayoutId id="2147483743" r:id="rId32"/>
    <p:sldLayoutId id="2147483744" r:id="rId33"/>
    <p:sldLayoutId id="2147483748" r:id="rId34"/>
    <p:sldLayoutId id="2147484989" r:id="rId35"/>
  </p:sldLayoutIdLst>
  <p:transition spd="med">
    <p:fade/>
  </p:transition>
  <p:hf hdr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200" cap="none" spc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5pPr>
      <a:lvl6pPr marL="609722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6pPr>
      <a:lvl7pPr marL="1219444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7pPr>
      <a:lvl8pPr marL="1829166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8pPr>
      <a:lvl9pPr marL="2438888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9pPr>
    </p:titleStyle>
    <p:bodyStyle>
      <a:lvl1pPr marL="266700" indent="-26670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Arial" charset="0"/>
        <a:buChar char="–"/>
        <a:defRPr sz="1800">
          <a:solidFill>
            <a:schemeClr val="tx1"/>
          </a:solidFill>
          <a:latin typeface="+mn-lt"/>
        </a:defRPr>
      </a:lvl2pPr>
      <a:lvl3pPr marL="806450" indent="-26670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1071563" indent="-265113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4pPr>
      <a:lvl5pPr marL="1346200" indent="-274638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520825" indent="-265113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1795463" indent="-274638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062163" indent="-26670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2335213" indent="-27305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52DC0C7-7702-4867-97C4-CD8AF6E85F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95579830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52DC0C7-7702-4867-97C4-CD8AF6E85F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D8CFF43-365C-431A-BADF-AE0A5723A859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91" cy="1587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1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7094" y="6455709"/>
            <a:ext cx="2088106" cy="144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B544F65E-6ED6-4942-BF07-FA09B458ACF5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3151" y="6455709"/>
            <a:ext cx="2375518" cy="144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683" y="6454682"/>
            <a:ext cx="287413" cy="145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8094" y="1629151"/>
            <a:ext cx="10370662" cy="46095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8094" y="404906"/>
            <a:ext cx="10370662" cy="863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(c)" hidden="1"/>
          <p:cNvSpPr txBox="1"/>
          <p:nvPr/>
        </p:nvSpPr>
        <p:spPr>
          <a:xfrm>
            <a:off x="11866443" y="6887869"/>
            <a:ext cx="331908" cy="307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 err="1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1066894" y="404758"/>
            <a:ext cx="720188" cy="364482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623303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90" r:id="rId1"/>
  </p:sldLayoutIdLst>
  <p:hf hdr="0"/>
  <p:txStyles>
    <p:titleStyle>
      <a:lvl1pPr algn="l" defTabSz="914583" rtl="0" eaLnBrk="1" latinLnBrk="0" hangingPunct="1">
        <a:lnSpc>
          <a:spcPct val="85000"/>
        </a:lnSpc>
        <a:spcBef>
          <a:spcPct val="0"/>
        </a:spcBef>
        <a:buNone/>
        <a:defRPr lang="en-US" sz="3201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53" indent="-266753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858" indent="-273105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611" indent="-266753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777" indent="-265166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469" indent="-274693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3223" indent="-266753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389" indent="-265166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3081" indent="-274693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834" indent="-266753" algn="l" defTabSz="914583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91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83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74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166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457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749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1040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332" algn="l" defTabSz="91458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7" imgW="475" imgH="476" progId="TCLayout.ActiveDocument.1">
                  <p:embed/>
                </p:oleObj>
              </mc:Choice>
              <mc:Fallback>
                <p:oleObj name="think-cell Slide" r:id="rId7" imgW="475" imgH="47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A154534-2AC8-4D3A-80F1-FC0899EBB4B8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91" cy="15878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7094" y="6455709"/>
            <a:ext cx="2088106" cy="1440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9E565A34-4D62-4ED4-B5F4-AD99B2C88DBD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9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9413151" y="6455709"/>
            <a:ext cx="2375518" cy="1440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fidential  |  © KONE Corporation</a:t>
            </a:r>
          </a:p>
        </p:txBody>
      </p:sp>
      <p:sp>
        <p:nvSpPr>
          <p:cNvPr id="10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683" y="6454682"/>
            <a:ext cx="287413" cy="145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Text Placeholder 12"/>
          <p:cNvSpPr>
            <a:spLocks noGrp="1"/>
          </p:cNvSpPr>
          <p:nvPr>
            <p:ph type="body" idx="1"/>
          </p:nvPr>
        </p:nvSpPr>
        <p:spPr>
          <a:xfrm>
            <a:off x="408094" y="1629151"/>
            <a:ext cx="10370662" cy="46095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itle Placeholder 13"/>
          <p:cNvSpPr>
            <a:spLocks noGrp="1"/>
          </p:cNvSpPr>
          <p:nvPr>
            <p:ph type="title"/>
          </p:nvPr>
        </p:nvSpPr>
        <p:spPr>
          <a:xfrm>
            <a:off x="408094" y="404906"/>
            <a:ext cx="10370662" cy="8638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15" name="(c)" hidden="1"/>
          <p:cNvSpPr txBox="1"/>
          <p:nvPr/>
        </p:nvSpPr>
        <p:spPr>
          <a:xfrm>
            <a:off x="11866443" y="6887869"/>
            <a:ext cx="331908" cy="307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fi-FI" sz="200">
                <a:solidFill>
                  <a:schemeClr val="bg1"/>
                </a:solidFill>
              </a:rPr>
              <a:t>©grow. for</a:t>
            </a:r>
            <a:r>
              <a:rPr lang="fi-FI" sz="200" baseline="0">
                <a:solidFill>
                  <a:schemeClr val="bg1"/>
                </a:solidFill>
              </a:rPr>
              <a:t> KONE corporation</a:t>
            </a:r>
            <a:endParaRPr lang="en-GB" sz="200" err="1">
              <a:solidFill>
                <a:schemeClr val="bg1"/>
              </a:solidFill>
            </a:endParaRPr>
          </a:p>
        </p:txBody>
      </p:sp>
      <p:grpSp>
        <p:nvGrpSpPr>
          <p:cNvPr id="16" name="Group 15"/>
          <p:cNvGrpSpPr>
            <a:grpSpLocks noChangeAspect="1"/>
          </p:cNvGrpSpPr>
          <p:nvPr/>
        </p:nvGrpSpPr>
        <p:grpSpPr>
          <a:xfrm>
            <a:off x="11066894" y="404758"/>
            <a:ext cx="720188" cy="364482"/>
            <a:chOff x="3498850" y="2112963"/>
            <a:chExt cx="5197475" cy="2630487"/>
          </a:xfrm>
        </p:grpSpPr>
        <p:sp>
          <p:nvSpPr>
            <p:cNvPr id="17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/>
            </a:p>
          </p:txBody>
        </p:sp>
        <p:sp>
          <p:nvSpPr>
            <p:cNvPr id="18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8131944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7" r:id="rId1"/>
    <p:sldLayoutId id="2147484979" r:id="rId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lang="en-US" sz="3200" kern="1200" cap="none" spc="0" baseline="0" noProof="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2000" kern="1200" noProof="0" dirty="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800" kern="1200" noProof="0" dirty="0">
          <a:solidFill>
            <a:schemeClr val="tx1"/>
          </a:solidFill>
          <a:latin typeface="+mn-lt"/>
          <a:ea typeface="+mn-ea"/>
          <a:cs typeface="+mn-cs"/>
        </a:defRPr>
      </a:lvl2pPr>
      <a:lvl3pPr marL="8064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600" kern="1200" noProof="0" dirty="0">
          <a:solidFill>
            <a:schemeClr val="tx1"/>
          </a:solidFill>
          <a:latin typeface="+mn-lt"/>
          <a:ea typeface="+mn-ea"/>
          <a:cs typeface="+mn-cs"/>
        </a:defRPr>
      </a:lvl3pPr>
      <a:lvl4pPr marL="107156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4pPr>
      <a:lvl5pPr marL="134620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Wingdings" panose="05000000000000000000" pitchFamily="2" charset="2"/>
        <a:buChar char="§"/>
        <a:defRPr lang="en-US" sz="1400" kern="1200" noProof="0" dirty="0">
          <a:solidFill>
            <a:schemeClr val="tx1"/>
          </a:solidFill>
          <a:latin typeface="+mn-lt"/>
          <a:ea typeface="+mn-ea"/>
          <a:cs typeface="+mn-cs"/>
        </a:defRPr>
      </a:lvl5pPr>
      <a:lvl6pPr marL="161290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6pPr>
      <a:lvl7pPr marL="1878013" indent="-265113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7pPr>
      <a:lvl8pPr marL="2152650" indent="-274638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–"/>
        <a:defRPr lang="en-US" sz="120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8pPr>
      <a:lvl9pPr marL="2419350" indent="-266700" algn="l" defTabSz="914400" rtl="0" eaLnBrk="1" latinLnBrk="0" hangingPunct="1">
        <a:lnSpc>
          <a:spcPct val="120000"/>
        </a:lnSpc>
        <a:spcBef>
          <a:spcPts val="400"/>
        </a:spcBef>
        <a:buClr>
          <a:schemeClr val="tx2"/>
        </a:buClr>
        <a:buFont typeface="Arial" panose="020B0604020202020204" pitchFamily="34" charset="0"/>
        <a:buChar char="•"/>
        <a:defRPr lang="en-US" sz="1200" kern="120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7CB662C-EEF5-443A-844F-9A1D4052E4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8" imgW="396" imgH="396" progId="TCLayout.ActiveDocument.1">
                  <p:embed/>
                </p:oleObj>
              </mc:Choice>
              <mc:Fallback>
                <p:oleObj name="think-cell Slide" r:id="rId8" imgW="396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7CB662C-EEF5-443A-844F-9A1D4052E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8F0533F-5C6E-4770-B4A4-628455CCAE16}"/>
              </a:ext>
            </a:extLst>
          </p:cNvPr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9576" y="404813"/>
            <a:ext cx="10368662" cy="863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9575" y="1628774"/>
            <a:ext cx="10367963" cy="460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49" name="Rectangle 2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6914" y="6453188"/>
            <a:ext cx="165625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87C834DF-162B-4F97-B720-132DD752BC54}" type="datetime3">
              <a:rPr lang="en-US" smtClean="0"/>
              <a:t>11 June 2020</a:t>
            </a:fld>
            <a:endParaRPr lang="en-US" dirty="0"/>
          </a:p>
        </p:txBody>
      </p:sp>
      <p:sp>
        <p:nvSpPr>
          <p:cNvPr id="1050" name="Rectangle 2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352197" y="6453188"/>
            <a:ext cx="9433403" cy="1450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chemeClr val="tx2"/>
                </a:solidFill>
              </a:defRPr>
            </a:lvl1pPr>
          </a:lstStyle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051" name="Rectangle 2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09576" y="6453188"/>
            <a:ext cx="287338" cy="145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tx2"/>
                </a:solidFill>
              </a:defRPr>
            </a:lvl1pPr>
          </a:lstStyle>
          <a:p>
            <a:fld id="{604FC64F-66B6-486E-8EFE-9FD96A66D16B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Freeform 6"/>
          <p:cNvSpPr>
            <a:spLocks noChangeAspect="1" noEditPoints="1"/>
          </p:cNvSpPr>
          <p:nvPr userDrawn="1"/>
        </p:nvSpPr>
        <p:spPr bwMode="auto">
          <a:xfrm>
            <a:off x="11065600" y="404813"/>
            <a:ext cx="720000" cy="364287"/>
          </a:xfrm>
          <a:custGeom>
            <a:avLst/>
            <a:gdLst>
              <a:gd name="T0" fmla="*/ 3275 w 3275"/>
              <a:gd name="T1" fmla="*/ 1657 h 1657"/>
              <a:gd name="T2" fmla="*/ 2824 w 3275"/>
              <a:gd name="T3" fmla="*/ 1002 h 1657"/>
              <a:gd name="T4" fmla="*/ 3134 w 3275"/>
              <a:gd name="T5" fmla="*/ 660 h 1657"/>
              <a:gd name="T6" fmla="*/ 2824 w 3275"/>
              <a:gd name="T7" fmla="*/ 1002 h 1657"/>
              <a:gd name="T8" fmla="*/ 1600 w 3275"/>
              <a:gd name="T9" fmla="*/ 1657 h 1657"/>
              <a:gd name="T10" fmla="*/ 1378 w 3275"/>
              <a:gd name="T11" fmla="*/ 829 h 1657"/>
              <a:gd name="T12" fmla="*/ 1371 w 3275"/>
              <a:gd name="T13" fmla="*/ 884 h 1657"/>
              <a:gd name="T14" fmla="*/ 1347 w 3275"/>
              <a:gd name="T15" fmla="*/ 938 h 1657"/>
              <a:gd name="T16" fmla="*/ 1315 w 3275"/>
              <a:gd name="T17" fmla="*/ 973 h 1657"/>
              <a:gd name="T18" fmla="*/ 1267 w 3275"/>
              <a:gd name="T19" fmla="*/ 999 h 1657"/>
              <a:gd name="T20" fmla="*/ 1202 w 3275"/>
              <a:gd name="T21" fmla="*/ 1005 h 1657"/>
              <a:gd name="T22" fmla="*/ 1156 w 3275"/>
              <a:gd name="T23" fmla="*/ 993 h 1657"/>
              <a:gd name="T24" fmla="*/ 1117 w 3275"/>
              <a:gd name="T25" fmla="*/ 968 h 1657"/>
              <a:gd name="T26" fmla="*/ 1083 w 3275"/>
              <a:gd name="T27" fmla="*/ 924 h 1657"/>
              <a:gd name="T28" fmla="*/ 1065 w 3275"/>
              <a:gd name="T29" fmla="*/ 876 h 1657"/>
              <a:gd name="T30" fmla="*/ 1061 w 3275"/>
              <a:gd name="T31" fmla="*/ 818 h 1657"/>
              <a:gd name="T32" fmla="*/ 1070 w 3275"/>
              <a:gd name="T33" fmla="*/ 764 h 1657"/>
              <a:gd name="T34" fmla="*/ 1096 w 3275"/>
              <a:gd name="T35" fmla="*/ 713 h 1657"/>
              <a:gd name="T36" fmla="*/ 1129 w 3275"/>
              <a:gd name="T37" fmla="*/ 680 h 1657"/>
              <a:gd name="T38" fmla="*/ 1179 w 3275"/>
              <a:gd name="T39" fmla="*/ 656 h 1657"/>
              <a:gd name="T40" fmla="*/ 1243 w 3275"/>
              <a:gd name="T41" fmla="*/ 653 h 1657"/>
              <a:gd name="T42" fmla="*/ 1288 w 3275"/>
              <a:gd name="T43" fmla="*/ 667 h 1657"/>
              <a:gd name="T44" fmla="*/ 1326 w 3275"/>
              <a:gd name="T45" fmla="*/ 695 h 1657"/>
              <a:gd name="T46" fmla="*/ 1359 w 3275"/>
              <a:gd name="T47" fmla="*/ 741 h 1657"/>
              <a:gd name="T48" fmla="*/ 1374 w 3275"/>
              <a:gd name="T49" fmla="*/ 790 h 1657"/>
              <a:gd name="T50" fmla="*/ 1202 w 3275"/>
              <a:gd name="T51" fmla="*/ 506 h 1657"/>
              <a:gd name="T52" fmla="*/ 1106 w 3275"/>
              <a:gd name="T53" fmla="*/ 524 h 1657"/>
              <a:gd name="T54" fmla="*/ 1036 w 3275"/>
              <a:gd name="T55" fmla="*/ 557 h 1657"/>
              <a:gd name="T56" fmla="*/ 967 w 3275"/>
              <a:gd name="T57" fmla="*/ 617 h 1657"/>
              <a:gd name="T58" fmla="*/ 924 w 3275"/>
              <a:gd name="T59" fmla="*/ 683 h 1657"/>
              <a:gd name="T60" fmla="*/ 896 w 3275"/>
              <a:gd name="T61" fmla="*/ 776 h 1657"/>
              <a:gd name="T62" fmla="*/ 896 w 3275"/>
              <a:gd name="T63" fmla="*/ 881 h 1657"/>
              <a:gd name="T64" fmla="*/ 918 w 3275"/>
              <a:gd name="T65" fmla="*/ 960 h 1657"/>
              <a:gd name="T66" fmla="*/ 967 w 3275"/>
              <a:gd name="T67" fmla="*/ 1040 h 1657"/>
              <a:gd name="T68" fmla="*/ 1036 w 3275"/>
              <a:gd name="T69" fmla="*/ 1100 h 1657"/>
              <a:gd name="T70" fmla="*/ 1106 w 3275"/>
              <a:gd name="T71" fmla="*/ 1134 h 1657"/>
              <a:gd name="T72" fmla="*/ 1202 w 3275"/>
              <a:gd name="T73" fmla="*/ 1151 h 1657"/>
              <a:gd name="T74" fmla="*/ 1301 w 3275"/>
              <a:gd name="T75" fmla="*/ 1142 h 1657"/>
              <a:gd name="T76" fmla="*/ 1375 w 3275"/>
              <a:gd name="T77" fmla="*/ 1115 h 1657"/>
              <a:gd name="T78" fmla="*/ 1450 w 3275"/>
              <a:gd name="T79" fmla="*/ 1062 h 1657"/>
              <a:gd name="T80" fmla="*/ 1498 w 3275"/>
              <a:gd name="T81" fmla="*/ 1002 h 1657"/>
              <a:gd name="T82" fmla="*/ 1535 w 3275"/>
              <a:gd name="T83" fmla="*/ 914 h 1657"/>
              <a:gd name="T84" fmla="*/ 1545 w 3275"/>
              <a:gd name="T85" fmla="*/ 810 h 1657"/>
              <a:gd name="T86" fmla="*/ 1531 w 3275"/>
              <a:gd name="T87" fmla="*/ 727 h 1657"/>
              <a:gd name="T88" fmla="*/ 1490 w 3275"/>
              <a:gd name="T89" fmla="*/ 642 h 1657"/>
              <a:gd name="T90" fmla="*/ 1427 w 3275"/>
              <a:gd name="T91" fmla="*/ 575 h 1657"/>
              <a:gd name="T92" fmla="*/ 1354 w 3275"/>
              <a:gd name="T93" fmla="*/ 532 h 1657"/>
              <a:gd name="T94" fmla="*/ 1269 w 3275"/>
              <a:gd name="T95" fmla="*/ 509 h 1657"/>
              <a:gd name="T96" fmla="*/ 2436 w 3275"/>
              <a:gd name="T97" fmla="*/ 414 h 1657"/>
              <a:gd name="T98" fmla="*/ 1675 w 3275"/>
              <a:gd name="T99" fmla="*/ 829 h 1657"/>
              <a:gd name="T100" fmla="*/ 1776 w 3275"/>
              <a:gd name="T101" fmla="*/ 523 h 1657"/>
              <a:gd name="T102" fmla="*/ 2336 w 3275"/>
              <a:gd name="T103" fmla="*/ 523 h 1657"/>
              <a:gd name="T104" fmla="*/ 761 w 3275"/>
              <a:gd name="T105" fmla="*/ 1243 h 1657"/>
              <a:gd name="T106" fmla="*/ 0 w 3275"/>
              <a:gd name="T107" fmla="*/ 0 h 1657"/>
              <a:gd name="T108" fmla="*/ 278 w 3275"/>
              <a:gd name="T109" fmla="*/ 523 h 1657"/>
              <a:gd name="T110" fmla="*/ 699 w 3275"/>
              <a:gd name="T111" fmla="*/ 1142 h 16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75" h="1657">
                <a:moveTo>
                  <a:pt x="2513" y="0"/>
                </a:moveTo>
                <a:lnTo>
                  <a:pt x="3275" y="0"/>
                </a:lnTo>
                <a:lnTo>
                  <a:pt x="3275" y="414"/>
                </a:lnTo>
                <a:lnTo>
                  <a:pt x="3275" y="829"/>
                </a:lnTo>
                <a:lnTo>
                  <a:pt x="3275" y="1243"/>
                </a:lnTo>
                <a:lnTo>
                  <a:pt x="3275" y="1657"/>
                </a:lnTo>
                <a:lnTo>
                  <a:pt x="2513" y="1657"/>
                </a:lnTo>
                <a:lnTo>
                  <a:pt x="2513" y="1243"/>
                </a:lnTo>
                <a:lnTo>
                  <a:pt x="2513" y="829"/>
                </a:lnTo>
                <a:lnTo>
                  <a:pt x="2513" y="414"/>
                </a:lnTo>
                <a:lnTo>
                  <a:pt x="2513" y="0"/>
                </a:lnTo>
                <a:close/>
                <a:moveTo>
                  <a:pt x="2824" y="1002"/>
                </a:moveTo>
                <a:lnTo>
                  <a:pt x="2824" y="897"/>
                </a:lnTo>
                <a:lnTo>
                  <a:pt x="3096" y="897"/>
                </a:lnTo>
                <a:lnTo>
                  <a:pt x="3096" y="764"/>
                </a:lnTo>
                <a:lnTo>
                  <a:pt x="2824" y="764"/>
                </a:lnTo>
                <a:lnTo>
                  <a:pt x="2824" y="660"/>
                </a:lnTo>
                <a:lnTo>
                  <a:pt x="3134" y="660"/>
                </a:lnTo>
                <a:lnTo>
                  <a:pt x="3134" y="523"/>
                </a:lnTo>
                <a:lnTo>
                  <a:pt x="2658" y="523"/>
                </a:lnTo>
                <a:lnTo>
                  <a:pt x="2658" y="1142"/>
                </a:lnTo>
                <a:lnTo>
                  <a:pt x="3134" y="1142"/>
                </a:lnTo>
                <a:lnTo>
                  <a:pt x="3134" y="1002"/>
                </a:lnTo>
                <a:lnTo>
                  <a:pt x="2824" y="1002"/>
                </a:lnTo>
                <a:close/>
                <a:moveTo>
                  <a:pt x="838" y="0"/>
                </a:moveTo>
                <a:lnTo>
                  <a:pt x="1600" y="0"/>
                </a:lnTo>
                <a:lnTo>
                  <a:pt x="1600" y="414"/>
                </a:lnTo>
                <a:lnTo>
                  <a:pt x="1600" y="829"/>
                </a:lnTo>
                <a:lnTo>
                  <a:pt x="1600" y="1243"/>
                </a:lnTo>
                <a:lnTo>
                  <a:pt x="1600" y="1657"/>
                </a:lnTo>
                <a:lnTo>
                  <a:pt x="838" y="1657"/>
                </a:lnTo>
                <a:lnTo>
                  <a:pt x="838" y="1243"/>
                </a:lnTo>
                <a:lnTo>
                  <a:pt x="838" y="829"/>
                </a:lnTo>
                <a:lnTo>
                  <a:pt x="838" y="414"/>
                </a:lnTo>
                <a:lnTo>
                  <a:pt x="838" y="0"/>
                </a:lnTo>
                <a:close/>
                <a:moveTo>
                  <a:pt x="1378" y="829"/>
                </a:moveTo>
                <a:lnTo>
                  <a:pt x="1377" y="839"/>
                </a:lnTo>
                <a:lnTo>
                  <a:pt x="1377" y="848"/>
                </a:lnTo>
                <a:lnTo>
                  <a:pt x="1376" y="858"/>
                </a:lnTo>
                <a:lnTo>
                  <a:pt x="1374" y="867"/>
                </a:lnTo>
                <a:lnTo>
                  <a:pt x="1373" y="876"/>
                </a:lnTo>
                <a:lnTo>
                  <a:pt x="1371" y="884"/>
                </a:lnTo>
                <a:lnTo>
                  <a:pt x="1368" y="893"/>
                </a:lnTo>
                <a:lnTo>
                  <a:pt x="1365" y="901"/>
                </a:lnTo>
                <a:lnTo>
                  <a:pt x="1359" y="917"/>
                </a:lnTo>
                <a:lnTo>
                  <a:pt x="1355" y="924"/>
                </a:lnTo>
                <a:lnTo>
                  <a:pt x="1351" y="931"/>
                </a:lnTo>
                <a:lnTo>
                  <a:pt x="1347" y="938"/>
                </a:lnTo>
                <a:lnTo>
                  <a:pt x="1342" y="945"/>
                </a:lnTo>
                <a:lnTo>
                  <a:pt x="1337" y="951"/>
                </a:lnTo>
                <a:lnTo>
                  <a:pt x="1332" y="957"/>
                </a:lnTo>
                <a:lnTo>
                  <a:pt x="1326" y="963"/>
                </a:lnTo>
                <a:lnTo>
                  <a:pt x="1321" y="968"/>
                </a:lnTo>
                <a:lnTo>
                  <a:pt x="1315" y="973"/>
                </a:lnTo>
                <a:lnTo>
                  <a:pt x="1308" y="978"/>
                </a:lnTo>
                <a:lnTo>
                  <a:pt x="1295" y="986"/>
                </a:lnTo>
                <a:lnTo>
                  <a:pt x="1288" y="990"/>
                </a:lnTo>
                <a:lnTo>
                  <a:pt x="1281" y="993"/>
                </a:lnTo>
                <a:lnTo>
                  <a:pt x="1274" y="996"/>
                </a:lnTo>
                <a:lnTo>
                  <a:pt x="1267" y="999"/>
                </a:lnTo>
                <a:lnTo>
                  <a:pt x="1259" y="1001"/>
                </a:lnTo>
                <a:lnTo>
                  <a:pt x="1251" y="1003"/>
                </a:lnTo>
                <a:lnTo>
                  <a:pt x="1243" y="1004"/>
                </a:lnTo>
                <a:lnTo>
                  <a:pt x="1235" y="1005"/>
                </a:lnTo>
                <a:lnTo>
                  <a:pt x="1219" y="1006"/>
                </a:lnTo>
                <a:lnTo>
                  <a:pt x="1202" y="1005"/>
                </a:lnTo>
                <a:lnTo>
                  <a:pt x="1194" y="1004"/>
                </a:lnTo>
                <a:lnTo>
                  <a:pt x="1186" y="1003"/>
                </a:lnTo>
                <a:lnTo>
                  <a:pt x="1179" y="1001"/>
                </a:lnTo>
                <a:lnTo>
                  <a:pt x="1171" y="999"/>
                </a:lnTo>
                <a:lnTo>
                  <a:pt x="1164" y="996"/>
                </a:lnTo>
                <a:lnTo>
                  <a:pt x="1156" y="993"/>
                </a:lnTo>
                <a:lnTo>
                  <a:pt x="1149" y="990"/>
                </a:lnTo>
                <a:lnTo>
                  <a:pt x="1143" y="986"/>
                </a:lnTo>
                <a:lnTo>
                  <a:pt x="1136" y="982"/>
                </a:lnTo>
                <a:lnTo>
                  <a:pt x="1129" y="978"/>
                </a:lnTo>
                <a:lnTo>
                  <a:pt x="1123" y="973"/>
                </a:lnTo>
                <a:lnTo>
                  <a:pt x="1117" y="968"/>
                </a:lnTo>
                <a:lnTo>
                  <a:pt x="1112" y="963"/>
                </a:lnTo>
                <a:lnTo>
                  <a:pt x="1106" y="957"/>
                </a:lnTo>
                <a:lnTo>
                  <a:pt x="1096" y="945"/>
                </a:lnTo>
                <a:lnTo>
                  <a:pt x="1091" y="938"/>
                </a:lnTo>
                <a:lnTo>
                  <a:pt x="1087" y="931"/>
                </a:lnTo>
                <a:lnTo>
                  <a:pt x="1083" y="924"/>
                </a:lnTo>
                <a:lnTo>
                  <a:pt x="1079" y="917"/>
                </a:lnTo>
                <a:lnTo>
                  <a:pt x="1076" y="909"/>
                </a:lnTo>
                <a:lnTo>
                  <a:pt x="1073" y="901"/>
                </a:lnTo>
                <a:lnTo>
                  <a:pt x="1070" y="893"/>
                </a:lnTo>
                <a:lnTo>
                  <a:pt x="1067" y="884"/>
                </a:lnTo>
                <a:lnTo>
                  <a:pt x="1065" y="876"/>
                </a:lnTo>
                <a:lnTo>
                  <a:pt x="1063" y="867"/>
                </a:lnTo>
                <a:lnTo>
                  <a:pt x="1062" y="858"/>
                </a:lnTo>
                <a:lnTo>
                  <a:pt x="1061" y="848"/>
                </a:lnTo>
                <a:lnTo>
                  <a:pt x="1061" y="839"/>
                </a:lnTo>
                <a:lnTo>
                  <a:pt x="1060" y="829"/>
                </a:lnTo>
                <a:lnTo>
                  <a:pt x="1061" y="818"/>
                </a:lnTo>
                <a:lnTo>
                  <a:pt x="1061" y="809"/>
                </a:lnTo>
                <a:lnTo>
                  <a:pt x="1062" y="800"/>
                </a:lnTo>
                <a:lnTo>
                  <a:pt x="1063" y="790"/>
                </a:lnTo>
                <a:lnTo>
                  <a:pt x="1065" y="782"/>
                </a:lnTo>
                <a:lnTo>
                  <a:pt x="1067" y="773"/>
                </a:lnTo>
                <a:lnTo>
                  <a:pt x="1070" y="764"/>
                </a:lnTo>
                <a:lnTo>
                  <a:pt x="1073" y="756"/>
                </a:lnTo>
                <a:lnTo>
                  <a:pt x="1079" y="741"/>
                </a:lnTo>
                <a:lnTo>
                  <a:pt x="1083" y="733"/>
                </a:lnTo>
                <a:lnTo>
                  <a:pt x="1087" y="726"/>
                </a:lnTo>
                <a:lnTo>
                  <a:pt x="1091" y="719"/>
                </a:lnTo>
                <a:lnTo>
                  <a:pt x="1096" y="713"/>
                </a:lnTo>
                <a:lnTo>
                  <a:pt x="1101" y="706"/>
                </a:lnTo>
                <a:lnTo>
                  <a:pt x="1106" y="700"/>
                </a:lnTo>
                <a:lnTo>
                  <a:pt x="1112" y="695"/>
                </a:lnTo>
                <a:lnTo>
                  <a:pt x="1117" y="689"/>
                </a:lnTo>
                <a:lnTo>
                  <a:pt x="1123" y="684"/>
                </a:lnTo>
                <a:lnTo>
                  <a:pt x="1129" y="680"/>
                </a:lnTo>
                <a:lnTo>
                  <a:pt x="1143" y="671"/>
                </a:lnTo>
                <a:lnTo>
                  <a:pt x="1149" y="667"/>
                </a:lnTo>
                <a:lnTo>
                  <a:pt x="1156" y="664"/>
                </a:lnTo>
                <a:lnTo>
                  <a:pt x="1164" y="661"/>
                </a:lnTo>
                <a:lnTo>
                  <a:pt x="1171" y="659"/>
                </a:lnTo>
                <a:lnTo>
                  <a:pt x="1179" y="656"/>
                </a:lnTo>
                <a:lnTo>
                  <a:pt x="1186" y="655"/>
                </a:lnTo>
                <a:lnTo>
                  <a:pt x="1194" y="653"/>
                </a:lnTo>
                <a:lnTo>
                  <a:pt x="1202" y="652"/>
                </a:lnTo>
                <a:lnTo>
                  <a:pt x="1219" y="651"/>
                </a:lnTo>
                <a:lnTo>
                  <a:pt x="1235" y="652"/>
                </a:lnTo>
                <a:lnTo>
                  <a:pt x="1243" y="653"/>
                </a:lnTo>
                <a:lnTo>
                  <a:pt x="1251" y="655"/>
                </a:lnTo>
                <a:lnTo>
                  <a:pt x="1259" y="656"/>
                </a:lnTo>
                <a:lnTo>
                  <a:pt x="1267" y="659"/>
                </a:lnTo>
                <a:lnTo>
                  <a:pt x="1274" y="661"/>
                </a:lnTo>
                <a:lnTo>
                  <a:pt x="1281" y="664"/>
                </a:lnTo>
                <a:lnTo>
                  <a:pt x="1288" y="667"/>
                </a:lnTo>
                <a:lnTo>
                  <a:pt x="1295" y="671"/>
                </a:lnTo>
                <a:lnTo>
                  <a:pt x="1302" y="675"/>
                </a:lnTo>
                <a:lnTo>
                  <a:pt x="1308" y="680"/>
                </a:lnTo>
                <a:lnTo>
                  <a:pt x="1315" y="684"/>
                </a:lnTo>
                <a:lnTo>
                  <a:pt x="1321" y="689"/>
                </a:lnTo>
                <a:lnTo>
                  <a:pt x="1326" y="695"/>
                </a:lnTo>
                <a:lnTo>
                  <a:pt x="1332" y="700"/>
                </a:lnTo>
                <a:lnTo>
                  <a:pt x="1342" y="713"/>
                </a:lnTo>
                <a:lnTo>
                  <a:pt x="1347" y="719"/>
                </a:lnTo>
                <a:lnTo>
                  <a:pt x="1351" y="726"/>
                </a:lnTo>
                <a:lnTo>
                  <a:pt x="1355" y="733"/>
                </a:lnTo>
                <a:lnTo>
                  <a:pt x="1359" y="741"/>
                </a:lnTo>
                <a:lnTo>
                  <a:pt x="1362" y="748"/>
                </a:lnTo>
                <a:lnTo>
                  <a:pt x="1365" y="756"/>
                </a:lnTo>
                <a:lnTo>
                  <a:pt x="1368" y="764"/>
                </a:lnTo>
                <a:lnTo>
                  <a:pt x="1371" y="773"/>
                </a:lnTo>
                <a:lnTo>
                  <a:pt x="1373" y="782"/>
                </a:lnTo>
                <a:lnTo>
                  <a:pt x="1374" y="790"/>
                </a:lnTo>
                <a:lnTo>
                  <a:pt x="1376" y="800"/>
                </a:lnTo>
                <a:lnTo>
                  <a:pt x="1377" y="809"/>
                </a:lnTo>
                <a:lnTo>
                  <a:pt x="1377" y="818"/>
                </a:lnTo>
                <a:lnTo>
                  <a:pt x="1378" y="829"/>
                </a:lnTo>
                <a:close/>
                <a:moveTo>
                  <a:pt x="1219" y="506"/>
                </a:moveTo>
                <a:lnTo>
                  <a:pt x="1202" y="506"/>
                </a:lnTo>
                <a:lnTo>
                  <a:pt x="1185" y="507"/>
                </a:lnTo>
                <a:lnTo>
                  <a:pt x="1169" y="509"/>
                </a:lnTo>
                <a:lnTo>
                  <a:pt x="1153" y="512"/>
                </a:lnTo>
                <a:lnTo>
                  <a:pt x="1137" y="515"/>
                </a:lnTo>
                <a:lnTo>
                  <a:pt x="1122" y="519"/>
                </a:lnTo>
                <a:lnTo>
                  <a:pt x="1106" y="524"/>
                </a:lnTo>
                <a:lnTo>
                  <a:pt x="1092" y="529"/>
                </a:lnTo>
                <a:lnTo>
                  <a:pt x="1077" y="535"/>
                </a:lnTo>
                <a:lnTo>
                  <a:pt x="1070" y="538"/>
                </a:lnTo>
                <a:lnTo>
                  <a:pt x="1063" y="542"/>
                </a:lnTo>
                <a:lnTo>
                  <a:pt x="1049" y="549"/>
                </a:lnTo>
                <a:lnTo>
                  <a:pt x="1036" y="557"/>
                </a:lnTo>
                <a:lnTo>
                  <a:pt x="1023" y="566"/>
                </a:lnTo>
                <a:lnTo>
                  <a:pt x="1011" y="575"/>
                </a:lnTo>
                <a:lnTo>
                  <a:pt x="999" y="585"/>
                </a:lnTo>
                <a:lnTo>
                  <a:pt x="988" y="595"/>
                </a:lnTo>
                <a:lnTo>
                  <a:pt x="977" y="606"/>
                </a:lnTo>
                <a:lnTo>
                  <a:pt x="967" y="617"/>
                </a:lnTo>
                <a:lnTo>
                  <a:pt x="957" y="629"/>
                </a:lnTo>
                <a:lnTo>
                  <a:pt x="952" y="636"/>
                </a:lnTo>
                <a:lnTo>
                  <a:pt x="948" y="642"/>
                </a:lnTo>
                <a:lnTo>
                  <a:pt x="940" y="655"/>
                </a:lnTo>
                <a:lnTo>
                  <a:pt x="932" y="669"/>
                </a:lnTo>
                <a:lnTo>
                  <a:pt x="924" y="683"/>
                </a:lnTo>
                <a:lnTo>
                  <a:pt x="918" y="697"/>
                </a:lnTo>
                <a:lnTo>
                  <a:pt x="912" y="712"/>
                </a:lnTo>
                <a:lnTo>
                  <a:pt x="907" y="727"/>
                </a:lnTo>
                <a:lnTo>
                  <a:pt x="903" y="743"/>
                </a:lnTo>
                <a:lnTo>
                  <a:pt x="899" y="759"/>
                </a:lnTo>
                <a:lnTo>
                  <a:pt x="896" y="776"/>
                </a:lnTo>
                <a:lnTo>
                  <a:pt x="894" y="793"/>
                </a:lnTo>
                <a:lnTo>
                  <a:pt x="893" y="810"/>
                </a:lnTo>
                <a:lnTo>
                  <a:pt x="892" y="829"/>
                </a:lnTo>
                <a:lnTo>
                  <a:pt x="893" y="847"/>
                </a:lnTo>
                <a:lnTo>
                  <a:pt x="894" y="864"/>
                </a:lnTo>
                <a:lnTo>
                  <a:pt x="896" y="881"/>
                </a:lnTo>
                <a:lnTo>
                  <a:pt x="899" y="898"/>
                </a:lnTo>
                <a:lnTo>
                  <a:pt x="901" y="906"/>
                </a:lnTo>
                <a:lnTo>
                  <a:pt x="903" y="914"/>
                </a:lnTo>
                <a:lnTo>
                  <a:pt x="907" y="930"/>
                </a:lnTo>
                <a:lnTo>
                  <a:pt x="912" y="945"/>
                </a:lnTo>
                <a:lnTo>
                  <a:pt x="918" y="960"/>
                </a:lnTo>
                <a:lnTo>
                  <a:pt x="924" y="975"/>
                </a:lnTo>
                <a:lnTo>
                  <a:pt x="932" y="989"/>
                </a:lnTo>
                <a:lnTo>
                  <a:pt x="940" y="1002"/>
                </a:lnTo>
                <a:lnTo>
                  <a:pt x="948" y="1015"/>
                </a:lnTo>
                <a:lnTo>
                  <a:pt x="957" y="1028"/>
                </a:lnTo>
                <a:lnTo>
                  <a:pt x="967" y="1040"/>
                </a:lnTo>
                <a:lnTo>
                  <a:pt x="977" y="1051"/>
                </a:lnTo>
                <a:lnTo>
                  <a:pt x="988" y="1062"/>
                </a:lnTo>
                <a:lnTo>
                  <a:pt x="999" y="1072"/>
                </a:lnTo>
                <a:lnTo>
                  <a:pt x="1011" y="1082"/>
                </a:lnTo>
                <a:lnTo>
                  <a:pt x="1023" y="1091"/>
                </a:lnTo>
                <a:lnTo>
                  <a:pt x="1036" y="1100"/>
                </a:lnTo>
                <a:lnTo>
                  <a:pt x="1049" y="1108"/>
                </a:lnTo>
                <a:lnTo>
                  <a:pt x="1063" y="1115"/>
                </a:lnTo>
                <a:lnTo>
                  <a:pt x="1077" y="1122"/>
                </a:lnTo>
                <a:lnTo>
                  <a:pt x="1084" y="1125"/>
                </a:lnTo>
                <a:lnTo>
                  <a:pt x="1092" y="1128"/>
                </a:lnTo>
                <a:lnTo>
                  <a:pt x="1106" y="1134"/>
                </a:lnTo>
                <a:lnTo>
                  <a:pt x="1122" y="1138"/>
                </a:lnTo>
                <a:lnTo>
                  <a:pt x="1137" y="1142"/>
                </a:lnTo>
                <a:lnTo>
                  <a:pt x="1153" y="1146"/>
                </a:lnTo>
                <a:lnTo>
                  <a:pt x="1169" y="1148"/>
                </a:lnTo>
                <a:lnTo>
                  <a:pt x="1185" y="1150"/>
                </a:lnTo>
                <a:lnTo>
                  <a:pt x="1202" y="1151"/>
                </a:lnTo>
                <a:lnTo>
                  <a:pt x="1219" y="1152"/>
                </a:lnTo>
                <a:lnTo>
                  <a:pt x="1236" y="1151"/>
                </a:lnTo>
                <a:lnTo>
                  <a:pt x="1252" y="1150"/>
                </a:lnTo>
                <a:lnTo>
                  <a:pt x="1269" y="1148"/>
                </a:lnTo>
                <a:lnTo>
                  <a:pt x="1285" y="1146"/>
                </a:lnTo>
                <a:lnTo>
                  <a:pt x="1301" y="1142"/>
                </a:lnTo>
                <a:lnTo>
                  <a:pt x="1316" y="1138"/>
                </a:lnTo>
                <a:lnTo>
                  <a:pt x="1331" y="1134"/>
                </a:lnTo>
                <a:lnTo>
                  <a:pt x="1346" y="1128"/>
                </a:lnTo>
                <a:lnTo>
                  <a:pt x="1361" y="1122"/>
                </a:lnTo>
                <a:lnTo>
                  <a:pt x="1368" y="1119"/>
                </a:lnTo>
                <a:lnTo>
                  <a:pt x="1375" y="1115"/>
                </a:lnTo>
                <a:lnTo>
                  <a:pt x="1389" y="1108"/>
                </a:lnTo>
                <a:lnTo>
                  <a:pt x="1402" y="1100"/>
                </a:lnTo>
                <a:lnTo>
                  <a:pt x="1415" y="1091"/>
                </a:lnTo>
                <a:lnTo>
                  <a:pt x="1427" y="1082"/>
                </a:lnTo>
                <a:lnTo>
                  <a:pt x="1439" y="1072"/>
                </a:lnTo>
                <a:lnTo>
                  <a:pt x="1450" y="1062"/>
                </a:lnTo>
                <a:lnTo>
                  <a:pt x="1461" y="1051"/>
                </a:lnTo>
                <a:lnTo>
                  <a:pt x="1471" y="1040"/>
                </a:lnTo>
                <a:lnTo>
                  <a:pt x="1481" y="1028"/>
                </a:lnTo>
                <a:lnTo>
                  <a:pt x="1485" y="1022"/>
                </a:lnTo>
                <a:lnTo>
                  <a:pt x="1490" y="1015"/>
                </a:lnTo>
                <a:lnTo>
                  <a:pt x="1498" y="1002"/>
                </a:lnTo>
                <a:lnTo>
                  <a:pt x="1506" y="989"/>
                </a:lnTo>
                <a:lnTo>
                  <a:pt x="1513" y="975"/>
                </a:lnTo>
                <a:lnTo>
                  <a:pt x="1520" y="960"/>
                </a:lnTo>
                <a:lnTo>
                  <a:pt x="1526" y="945"/>
                </a:lnTo>
                <a:lnTo>
                  <a:pt x="1531" y="930"/>
                </a:lnTo>
                <a:lnTo>
                  <a:pt x="1535" y="914"/>
                </a:lnTo>
                <a:lnTo>
                  <a:pt x="1539" y="898"/>
                </a:lnTo>
                <a:lnTo>
                  <a:pt x="1542" y="881"/>
                </a:lnTo>
                <a:lnTo>
                  <a:pt x="1544" y="864"/>
                </a:lnTo>
                <a:lnTo>
                  <a:pt x="1545" y="847"/>
                </a:lnTo>
                <a:lnTo>
                  <a:pt x="1545" y="829"/>
                </a:lnTo>
                <a:lnTo>
                  <a:pt x="1545" y="810"/>
                </a:lnTo>
                <a:lnTo>
                  <a:pt x="1544" y="793"/>
                </a:lnTo>
                <a:lnTo>
                  <a:pt x="1542" y="776"/>
                </a:lnTo>
                <a:lnTo>
                  <a:pt x="1539" y="759"/>
                </a:lnTo>
                <a:lnTo>
                  <a:pt x="1537" y="751"/>
                </a:lnTo>
                <a:lnTo>
                  <a:pt x="1535" y="743"/>
                </a:lnTo>
                <a:lnTo>
                  <a:pt x="1531" y="727"/>
                </a:lnTo>
                <a:lnTo>
                  <a:pt x="1526" y="712"/>
                </a:lnTo>
                <a:lnTo>
                  <a:pt x="1520" y="697"/>
                </a:lnTo>
                <a:lnTo>
                  <a:pt x="1513" y="683"/>
                </a:lnTo>
                <a:lnTo>
                  <a:pt x="1506" y="669"/>
                </a:lnTo>
                <a:lnTo>
                  <a:pt x="1498" y="655"/>
                </a:lnTo>
                <a:lnTo>
                  <a:pt x="1490" y="642"/>
                </a:lnTo>
                <a:lnTo>
                  <a:pt x="1481" y="629"/>
                </a:lnTo>
                <a:lnTo>
                  <a:pt x="1471" y="617"/>
                </a:lnTo>
                <a:lnTo>
                  <a:pt x="1461" y="606"/>
                </a:lnTo>
                <a:lnTo>
                  <a:pt x="1450" y="595"/>
                </a:lnTo>
                <a:lnTo>
                  <a:pt x="1439" y="585"/>
                </a:lnTo>
                <a:lnTo>
                  <a:pt x="1427" y="575"/>
                </a:lnTo>
                <a:lnTo>
                  <a:pt x="1415" y="566"/>
                </a:lnTo>
                <a:lnTo>
                  <a:pt x="1402" y="557"/>
                </a:lnTo>
                <a:lnTo>
                  <a:pt x="1389" y="549"/>
                </a:lnTo>
                <a:lnTo>
                  <a:pt x="1375" y="542"/>
                </a:lnTo>
                <a:lnTo>
                  <a:pt x="1361" y="535"/>
                </a:lnTo>
                <a:lnTo>
                  <a:pt x="1354" y="532"/>
                </a:lnTo>
                <a:lnTo>
                  <a:pt x="1346" y="529"/>
                </a:lnTo>
                <a:lnTo>
                  <a:pt x="1331" y="524"/>
                </a:lnTo>
                <a:lnTo>
                  <a:pt x="1316" y="519"/>
                </a:lnTo>
                <a:lnTo>
                  <a:pt x="1301" y="515"/>
                </a:lnTo>
                <a:lnTo>
                  <a:pt x="1285" y="512"/>
                </a:lnTo>
                <a:lnTo>
                  <a:pt x="1269" y="509"/>
                </a:lnTo>
                <a:lnTo>
                  <a:pt x="1252" y="507"/>
                </a:lnTo>
                <a:lnTo>
                  <a:pt x="1236" y="506"/>
                </a:lnTo>
                <a:lnTo>
                  <a:pt x="1219" y="506"/>
                </a:lnTo>
                <a:close/>
                <a:moveTo>
                  <a:pt x="1675" y="0"/>
                </a:moveTo>
                <a:lnTo>
                  <a:pt x="2436" y="0"/>
                </a:lnTo>
                <a:lnTo>
                  <a:pt x="2436" y="414"/>
                </a:lnTo>
                <a:lnTo>
                  <a:pt x="2436" y="829"/>
                </a:lnTo>
                <a:lnTo>
                  <a:pt x="2436" y="1243"/>
                </a:lnTo>
                <a:lnTo>
                  <a:pt x="2436" y="1657"/>
                </a:lnTo>
                <a:lnTo>
                  <a:pt x="1675" y="1657"/>
                </a:lnTo>
                <a:lnTo>
                  <a:pt x="1675" y="1243"/>
                </a:lnTo>
                <a:lnTo>
                  <a:pt x="1675" y="829"/>
                </a:lnTo>
                <a:lnTo>
                  <a:pt x="1675" y="414"/>
                </a:lnTo>
                <a:lnTo>
                  <a:pt x="1675" y="0"/>
                </a:lnTo>
                <a:close/>
                <a:moveTo>
                  <a:pt x="2180" y="523"/>
                </a:moveTo>
                <a:lnTo>
                  <a:pt x="2180" y="825"/>
                </a:lnTo>
                <a:lnTo>
                  <a:pt x="1872" y="523"/>
                </a:lnTo>
                <a:lnTo>
                  <a:pt x="1776" y="523"/>
                </a:lnTo>
                <a:lnTo>
                  <a:pt x="1776" y="1142"/>
                </a:lnTo>
                <a:lnTo>
                  <a:pt x="1931" y="1142"/>
                </a:lnTo>
                <a:lnTo>
                  <a:pt x="1931" y="829"/>
                </a:lnTo>
                <a:lnTo>
                  <a:pt x="2251" y="1142"/>
                </a:lnTo>
                <a:lnTo>
                  <a:pt x="2336" y="1142"/>
                </a:lnTo>
                <a:lnTo>
                  <a:pt x="2336" y="523"/>
                </a:lnTo>
                <a:lnTo>
                  <a:pt x="2180" y="523"/>
                </a:lnTo>
                <a:close/>
                <a:moveTo>
                  <a:pt x="0" y="0"/>
                </a:moveTo>
                <a:lnTo>
                  <a:pt x="761" y="0"/>
                </a:lnTo>
                <a:lnTo>
                  <a:pt x="761" y="414"/>
                </a:lnTo>
                <a:lnTo>
                  <a:pt x="761" y="829"/>
                </a:lnTo>
                <a:lnTo>
                  <a:pt x="761" y="1243"/>
                </a:lnTo>
                <a:lnTo>
                  <a:pt x="761" y="1657"/>
                </a:lnTo>
                <a:lnTo>
                  <a:pt x="0" y="1657"/>
                </a:lnTo>
                <a:lnTo>
                  <a:pt x="0" y="1243"/>
                </a:lnTo>
                <a:lnTo>
                  <a:pt x="0" y="829"/>
                </a:lnTo>
                <a:lnTo>
                  <a:pt x="0" y="414"/>
                </a:lnTo>
                <a:lnTo>
                  <a:pt x="0" y="0"/>
                </a:lnTo>
                <a:close/>
                <a:moveTo>
                  <a:pt x="699" y="1142"/>
                </a:moveTo>
                <a:lnTo>
                  <a:pt x="454" y="814"/>
                </a:lnTo>
                <a:lnTo>
                  <a:pt x="683" y="523"/>
                </a:lnTo>
                <a:lnTo>
                  <a:pt x="485" y="523"/>
                </a:lnTo>
                <a:lnTo>
                  <a:pt x="278" y="793"/>
                </a:lnTo>
                <a:lnTo>
                  <a:pt x="278" y="523"/>
                </a:lnTo>
                <a:lnTo>
                  <a:pt x="110" y="523"/>
                </a:lnTo>
                <a:lnTo>
                  <a:pt x="110" y="1142"/>
                </a:lnTo>
                <a:lnTo>
                  <a:pt x="278" y="1142"/>
                </a:lnTo>
                <a:lnTo>
                  <a:pt x="278" y="850"/>
                </a:lnTo>
                <a:lnTo>
                  <a:pt x="493" y="1142"/>
                </a:lnTo>
                <a:lnTo>
                  <a:pt x="699" y="11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986" r:id="rId1"/>
    <p:sldLayoutId id="2147484982" r:id="rId2"/>
    <p:sldLayoutId id="2147484981" r:id="rId3"/>
  </p:sldLayoutIdLst>
  <p:transition spd="med">
    <p:fade/>
  </p:transition>
  <p:hf hdr="0"/>
  <p:txStyles>
    <p:titleStyle>
      <a:lvl1pPr algn="l" rtl="0" fontAlgn="base">
        <a:lnSpc>
          <a:spcPct val="85000"/>
        </a:lnSpc>
        <a:spcBef>
          <a:spcPct val="0"/>
        </a:spcBef>
        <a:spcAft>
          <a:spcPct val="0"/>
        </a:spcAft>
        <a:defRPr sz="3200" cap="none" spc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5pPr>
      <a:lvl6pPr marL="609722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6pPr>
      <a:lvl7pPr marL="1219444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7pPr>
      <a:lvl8pPr marL="1829166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8pPr>
      <a:lvl9pPr marL="2438888" algn="l" rtl="0" fontAlgn="base"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Arial" charset="0"/>
        </a:defRPr>
      </a:lvl9pPr>
    </p:titleStyle>
    <p:bodyStyle>
      <a:lvl1pPr marL="266700" indent="-26670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539750" indent="-27305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Arial" charset="0"/>
        <a:buChar char="–"/>
        <a:defRPr sz="1800">
          <a:solidFill>
            <a:schemeClr val="tx1"/>
          </a:solidFill>
          <a:latin typeface="+mn-lt"/>
        </a:defRPr>
      </a:lvl2pPr>
      <a:lvl3pPr marL="806450" indent="-26670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3pPr>
      <a:lvl4pPr marL="1071563" indent="-265113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4pPr>
      <a:lvl5pPr marL="1346200" indent="-274638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400">
          <a:solidFill>
            <a:schemeClr val="tx1"/>
          </a:solidFill>
          <a:latin typeface="+mn-lt"/>
        </a:defRPr>
      </a:lvl5pPr>
      <a:lvl6pPr marL="1520825" indent="-265113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1795463" indent="-274638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062163" indent="-26670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2335213" indent="-273050" algn="l" rtl="0" fontAlgn="base">
        <a:lnSpc>
          <a:spcPct val="120000"/>
        </a:lnSpc>
        <a:spcBef>
          <a:spcPts val="800"/>
        </a:spcBef>
        <a:spcAft>
          <a:spcPts val="0"/>
        </a:spcAft>
        <a:buClr>
          <a:schemeClr val="tx2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fi-FI"/>
      </a:defPPr>
      <a:lvl1pPr marL="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72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444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9166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888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610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8332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8053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775" algn="l" defTabSz="121944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3.xml"/><Relationship Id="rId7" Type="http://schemas.openxmlformats.org/officeDocument/2006/relationships/oleObject" Target="../embeddings/oleObject7.bin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1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tags" Target="../tags/tag15.xml"/><Relationship Id="rId7" Type="http://schemas.openxmlformats.org/officeDocument/2006/relationships/image" Target="../media/image10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slideLayout" Target="../slideLayouts/slideLayout13.xml"/><Relationship Id="rId7" Type="http://schemas.openxmlformats.org/officeDocument/2006/relationships/oleObject" Target="../embeddings/oleObject9.bin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3.png"/><Relationship Id="rId5" Type="http://schemas.openxmlformats.org/officeDocument/2006/relationships/image" Target="../media/image9.jp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9" descr="A person standing in front of a door&#10;&#10;Description generated with very high confidence">
            <a:extLst>
              <a:ext uri="{FF2B5EF4-FFF2-40B4-BE49-F238E27FC236}">
                <a16:creationId xmlns:a16="http://schemas.microsoft.com/office/drawing/2014/main" id="{9E3A20C5-5E17-4143-89E6-97EAC17D833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>
          <a:xfrm>
            <a:off x="0" y="0"/>
            <a:ext cx="12195175" cy="6859588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79B528E4-32BE-46F0-94C4-AEE27F42651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>
                <a:solidFill>
                  <a:srgbClr val="FEFEFE"/>
                </a:solidFill>
              </a:rPr>
              <a:t>Redefining building communication with KONE Information</a:t>
            </a:r>
            <a:r>
              <a:rPr lang="fi-FI" dirty="0">
                <a:solidFill>
                  <a:srgbClr val="FEFEFE"/>
                </a:solidFill>
              </a:rPr>
              <a:t> </a:t>
            </a:r>
            <a:endParaRPr lang="en-FI" dirty="0">
              <a:solidFill>
                <a:srgbClr val="FEFEFE"/>
              </a:solidFill>
            </a:endParaRPr>
          </a:p>
        </p:txBody>
      </p:sp>
      <p:sp>
        <p:nvSpPr>
          <p:cNvPr id="10" name="Subtitle 9">
            <a:extLst>
              <a:ext uri="{FF2B5EF4-FFF2-40B4-BE49-F238E27FC236}">
                <a16:creationId xmlns:a16="http://schemas.microsoft.com/office/drawing/2014/main" id="{FE7890F7-E4CC-4C37-9A5F-6D850851225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i-FI" dirty="0">
                <a:solidFill>
                  <a:srgbClr val="FEFEFE"/>
                </a:solidFill>
              </a:rPr>
              <a:t>AUTHOR/DATE</a:t>
            </a:r>
            <a:endParaRPr lang="en-FI" dirty="0">
              <a:solidFill>
                <a:srgbClr val="FEFEFE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895F7B-7BAF-4E18-BE40-185549CD54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4F6A84-CFE1-4BFE-8243-FDFF6A21CD67}" type="datetime3">
              <a:rPr lang="en-US" smtClean="0"/>
              <a:t>11 June 20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8BA94CC-963E-4351-B5D9-665FB42B50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880A23-3EB1-4404-B6F8-A10B655AD5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73281"/>
      </p:ext>
    </p:extLst>
  </p:cSld>
  <p:clrMapOvr>
    <a:masterClrMapping/>
  </p:clrMapOvr>
  <p:transition spd="med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Placeholder 40"/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" b="87"/>
          <a:stretch>
            <a:fillRect/>
          </a:stretch>
        </p:blipFill>
        <p:spPr/>
      </p:pic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5809555" y="0"/>
            <a:ext cx="6385620" cy="6859588"/>
          </a:xfrm>
        </p:spPr>
        <p:txBody>
          <a:bodyPr/>
          <a:lstStyle/>
          <a:p>
            <a:r>
              <a:rPr lang="en-GB" sz="3200" dirty="0"/>
              <a:t>KONE Information 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9"/>
          </p:nvPr>
        </p:nvSpPr>
        <p:spPr>
          <a:xfrm>
            <a:off x="6219131" y="1629152"/>
            <a:ext cx="5831680" cy="4608137"/>
          </a:xfrm>
        </p:spPr>
        <p:txBody>
          <a:bodyPr vert="horz" lIns="0" tIns="0" rIns="0" bIns="0" rtlCol="0" anchor="t">
            <a:noAutofit/>
          </a:bodyPr>
          <a:lstStyle/>
          <a:p>
            <a:pPr marL="266700" indent="-266700"/>
            <a:r>
              <a:rPr lang="en-GB" sz="1600" dirty="0"/>
              <a:t>A simple yet flexible way to communicate with building users</a:t>
            </a:r>
            <a:endParaRPr lang="en-GB" sz="1600" dirty="0">
              <a:cs typeface="Arial"/>
            </a:endParaRPr>
          </a:p>
          <a:p>
            <a:pPr marL="266700" indent="-266700"/>
            <a:r>
              <a:rPr lang="en-GB" sz="1600" dirty="0"/>
              <a:t>Share targeted content via </a:t>
            </a:r>
            <a:r>
              <a:rPr lang="en-GB" sz="1600" dirty="0" err="1"/>
              <a:t>MediaScreens</a:t>
            </a:r>
            <a:r>
              <a:rPr lang="en-GB" sz="1600" dirty="0"/>
              <a:t> in</a:t>
            </a:r>
            <a:br>
              <a:rPr lang="en-GB" sz="1600" dirty="0"/>
            </a:br>
            <a:r>
              <a:rPr lang="en-GB" sz="1600" dirty="0"/>
              <a:t>elevators and </a:t>
            </a:r>
            <a:r>
              <a:rPr lang="en-GB" sz="1600" dirty="0" err="1"/>
              <a:t>MediaPlayers</a:t>
            </a:r>
            <a:r>
              <a:rPr lang="en-GB" sz="1600" dirty="0"/>
              <a:t> elsewhere in the building </a:t>
            </a:r>
            <a:endParaRPr lang="en-GB" sz="1600" dirty="0">
              <a:cs typeface="Arial"/>
            </a:endParaRPr>
          </a:p>
          <a:p>
            <a:pPr marL="266700" indent="-266700"/>
            <a:r>
              <a:rPr lang="en-GB" sz="1600" dirty="0"/>
              <a:t>Publish content quickly and easily to one or many locations from any PC with an internet connection</a:t>
            </a:r>
            <a:br>
              <a:rPr lang="en-GB" sz="1600" dirty="0"/>
            </a:br>
            <a:r>
              <a:rPr lang="en-GB" sz="1600" dirty="0"/>
              <a:t>– no more messy noticeboards, no more time-consuming manual updates</a:t>
            </a:r>
            <a:endParaRPr lang="en-GB" sz="1600" dirty="0">
              <a:cs typeface="Arial"/>
            </a:endParaRPr>
          </a:p>
          <a:p>
            <a:pPr marL="266700" indent="-266700"/>
            <a:r>
              <a:rPr lang="en-GB" sz="1600" dirty="0"/>
              <a:t>Define your content playlist by choosing from different apps and then publish immediately or schedule for later</a:t>
            </a:r>
            <a:endParaRPr lang="en-GB" sz="1600" dirty="0">
              <a:cs typeface="Arial"/>
            </a:endParaRPr>
          </a:p>
          <a:p>
            <a:pPr marL="266700" indent="-266700"/>
            <a:r>
              <a:rPr lang="en-GB" sz="1600" b="1" dirty="0"/>
              <a:t>After setup, one convenient monthly fee covers everything*</a:t>
            </a:r>
            <a:endParaRPr lang="en-GB" sz="1600" dirty="0">
              <a:cs typeface="Arial"/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fld id="{B6A97FD9-B18E-445F-9F57-C0F049ED6F59}" type="datetime3">
              <a:rPr lang="en-US">
                <a:solidFill>
                  <a:srgbClr val="FFFFFF"/>
                </a:solidFill>
                <a:latin typeface="Arial"/>
              </a:rPr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t>11 June 2020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fld id="{604FC64F-66B6-486E-8EFE-9FD96A66D16B}" type="slidenum">
              <a:rPr lang="en-US">
                <a:solidFill>
                  <a:srgbClr val="FFFFFF"/>
                </a:solidFill>
                <a:latin typeface="Arial"/>
              </a:rPr>
              <a:pPr defTabSz="914583" fontAlgn="auto">
                <a:spcBef>
                  <a:spcPts val="0"/>
                </a:spcBef>
                <a:spcAft>
                  <a:spcPts val="0"/>
                </a:spcAft>
              </a:pPr>
              <a:t>2</a:t>
            </a:fld>
            <a:endParaRPr lang="en-US">
              <a:solidFill>
                <a:srgbClr val="FFFFFF"/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71B9"/>
                </a:solidFill>
                <a:latin typeface="Arial"/>
              </a:rPr>
              <a:t>Confidential  |  © KONE Corporation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idx="13"/>
          </p:nvPr>
        </p:nvSpPr>
        <p:spPr>
          <a:xfrm>
            <a:off x="6241716" y="909444"/>
            <a:ext cx="5257334" cy="432060"/>
          </a:xfrm>
        </p:spPr>
        <p:txBody>
          <a:bodyPr/>
          <a:lstStyle/>
          <a:p>
            <a:r>
              <a:rPr lang="fi-FI" dirty="0"/>
              <a:t>KEEP EVERYONE IN THE LOOP</a:t>
            </a:r>
            <a:endParaRPr lang="x-none" dirty="0"/>
          </a:p>
          <a:p>
            <a:endParaRPr lang="en-US" dirty="0"/>
          </a:p>
        </p:txBody>
      </p:sp>
      <p:sp>
        <p:nvSpPr>
          <p:cNvPr id="49" name="Freeform 6"/>
          <p:cNvSpPr>
            <a:spLocks noChangeAspect="1" noEditPoints="1"/>
          </p:cNvSpPr>
          <p:nvPr/>
        </p:nvSpPr>
        <p:spPr bwMode="auto">
          <a:xfrm>
            <a:off x="6673851" y="5554030"/>
            <a:ext cx="360083" cy="360083"/>
          </a:xfrm>
          <a:custGeom>
            <a:avLst/>
            <a:gdLst>
              <a:gd name="T0" fmla="*/ 1682 w 1844"/>
              <a:gd name="T1" fmla="*/ 10 h 1844"/>
              <a:gd name="T2" fmla="*/ 1769 w 1844"/>
              <a:gd name="T3" fmla="*/ 59 h 1844"/>
              <a:gd name="T4" fmla="*/ 1826 w 1844"/>
              <a:gd name="T5" fmla="*/ 141 h 1844"/>
              <a:gd name="T6" fmla="*/ 1844 w 1844"/>
              <a:gd name="T7" fmla="*/ 921 h 1844"/>
              <a:gd name="T8" fmla="*/ 1826 w 1844"/>
              <a:gd name="T9" fmla="*/ 1704 h 1844"/>
              <a:gd name="T10" fmla="*/ 1769 w 1844"/>
              <a:gd name="T11" fmla="*/ 1784 h 1844"/>
              <a:gd name="T12" fmla="*/ 1682 w 1844"/>
              <a:gd name="T13" fmla="*/ 1834 h 1844"/>
              <a:gd name="T14" fmla="*/ 218 w 1844"/>
              <a:gd name="T15" fmla="*/ 1844 h 1844"/>
              <a:gd name="T16" fmla="*/ 120 w 1844"/>
              <a:gd name="T17" fmla="*/ 1816 h 1844"/>
              <a:gd name="T18" fmla="*/ 45 w 1844"/>
              <a:gd name="T19" fmla="*/ 1752 h 1844"/>
              <a:gd name="T20" fmla="*/ 4 w 1844"/>
              <a:gd name="T21" fmla="*/ 1661 h 1844"/>
              <a:gd name="T22" fmla="*/ 2 w 1844"/>
              <a:gd name="T23" fmla="*/ 195 h 1844"/>
              <a:gd name="T24" fmla="*/ 39 w 1844"/>
              <a:gd name="T25" fmla="*/ 101 h 1844"/>
              <a:gd name="T26" fmla="*/ 110 w 1844"/>
              <a:gd name="T27" fmla="*/ 33 h 1844"/>
              <a:gd name="T28" fmla="*/ 207 w 1844"/>
              <a:gd name="T29" fmla="*/ 1 h 1844"/>
              <a:gd name="T30" fmla="*/ 165 w 1844"/>
              <a:gd name="T31" fmla="*/ 112 h 1844"/>
              <a:gd name="T32" fmla="*/ 112 w 1844"/>
              <a:gd name="T33" fmla="*/ 167 h 1844"/>
              <a:gd name="T34" fmla="*/ 96 w 1844"/>
              <a:gd name="T35" fmla="*/ 223 h 1844"/>
              <a:gd name="T36" fmla="*/ 112 w 1844"/>
              <a:gd name="T37" fmla="*/ 1678 h 1844"/>
              <a:gd name="T38" fmla="*/ 165 w 1844"/>
              <a:gd name="T39" fmla="*/ 1732 h 1844"/>
              <a:gd name="T40" fmla="*/ 230 w 1844"/>
              <a:gd name="T41" fmla="*/ 1748 h 1844"/>
              <a:gd name="T42" fmla="*/ 1683 w 1844"/>
              <a:gd name="T43" fmla="*/ 1729 h 1844"/>
              <a:gd name="T44" fmla="*/ 1735 w 1844"/>
              <a:gd name="T45" fmla="*/ 1672 h 1844"/>
              <a:gd name="T46" fmla="*/ 1748 w 1844"/>
              <a:gd name="T47" fmla="*/ 1613 h 1844"/>
              <a:gd name="T48" fmla="*/ 1728 w 1844"/>
              <a:gd name="T49" fmla="*/ 161 h 1844"/>
              <a:gd name="T50" fmla="*/ 1671 w 1844"/>
              <a:gd name="T51" fmla="*/ 109 h 1844"/>
              <a:gd name="T52" fmla="*/ 921 w 1844"/>
              <a:gd name="T53" fmla="*/ 96 h 1844"/>
              <a:gd name="T54" fmla="*/ 586 w 1844"/>
              <a:gd name="T55" fmla="*/ 1314 h 1844"/>
              <a:gd name="T56" fmla="*/ 434 w 1844"/>
              <a:gd name="T57" fmla="*/ 1250 h 1844"/>
              <a:gd name="T58" fmla="*/ 554 w 1844"/>
              <a:gd name="T59" fmla="*/ 1233 h 1844"/>
              <a:gd name="T60" fmla="*/ 696 w 1844"/>
              <a:gd name="T61" fmla="*/ 1173 h 1844"/>
              <a:gd name="T62" fmla="*/ 629 w 1844"/>
              <a:gd name="T63" fmla="*/ 1129 h 1844"/>
              <a:gd name="T64" fmla="*/ 558 w 1844"/>
              <a:gd name="T65" fmla="*/ 1066 h 1844"/>
              <a:gd name="T66" fmla="*/ 569 w 1844"/>
              <a:gd name="T67" fmla="*/ 1013 h 1844"/>
              <a:gd name="T68" fmla="*/ 581 w 1844"/>
              <a:gd name="T69" fmla="*/ 992 h 1844"/>
              <a:gd name="T70" fmla="*/ 505 w 1844"/>
              <a:gd name="T71" fmla="*/ 935 h 1844"/>
              <a:gd name="T72" fmla="*/ 462 w 1844"/>
              <a:gd name="T73" fmla="*/ 848 h 1844"/>
              <a:gd name="T74" fmla="*/ 502 w 1844"/>
              <a:gd name="T75" fmla="*/ 818 h 1844"/>
              <a:gd name="T76" fmla="*/ 522 w 1844"/>
              <a:gd name="T77" fmla="*/ 802 h 1844"/>
              <a:gd name="T78" fmla="*/ 469 w 1844"/>
              <a:gd name="T79" fmla="*/ 718 h 1844"/>
              <a:gd name="T80" fmla="*/ 463 w 1844"/>
              <a:gd name="T81" fmla="*/ 612 h 1844"/>
              <a:gd name="T82" fmla="*/ 538 w 1844"/>
              <a:gd name="T83" fmla="*/ 605 h 1844"/>
              <a:gd name="T84" fmla="*/ 647 w 1844"/>
              <a:gd name="T85" fmla="*/ 686 h 1844"/>
              <a:gd name="T86" fmla="*/ 789 w 1844"/>
              <a:gd name="T87" fmla="*/ 746 h 1844"/>
              <a:gd name="T88" fmla="*/ 912 w 1844"/>
              <a:gd name="T89" fmla="*/ 754 h 1844"/>
              <a:gd name="T90" fmla="*/ 918 w 1844"/>
              <a:gd name="T91" fmla="*/ 657 h 1844"/>
              <a:gd name="T92" fmla="*/ 963 w 1844"/>
              <a:gd name="T93" fmla="*/ 579 h 1844"/>
              <a:gd name="T94" fmla="*/ 1035 w 1844"/>
              <a:gd name="T95" fmla="*/ 527 h 1844"/>
              <a:gd name="T96" fmla="*/ 1127 w 1844"/>
              <a:gd name="T97" fmla="*/ 511 h 1844"/>
              <a:gd name="T98" fmla="*/ 1219 w 1844"/>
              <a:gd name="T99" fmla="*/ 538 h 1844"/>
              <a:gd name="T100" fmla="*/ 1302 w 1844"/>
              <a:gd name="T101" fmla="*/ 568 h 1844"/>
              <a:gd name="T102" fmla="*/ 1389 w 1844"/>
              <a:gd name="T103" fmla="*/ 553 h 1844"/>
              <a:gd name="T104" fmla="*/ 1316 w 1844"/>
              <a:gd name="T105" fmla="*/ 636 h 1844"/>
              <a:gd name="T106" fmla="*/ 1420 w 1844"/>
              <a:gd name="T107" fmla="*/ 611 h 1844"/>
              <a:gd name="T108" fmla="*/ 1331 w 1844"/>
              <a:gd name="T109" fmla="*/ 710 h 1844"/>
              <a:gd name="T110" fmla="*/ 1314 w 1844"/>
              <a:gd name="T111" fmla="*/ 847 h 1844"/>
              <a:gd name="T112" fmla="*/ 1264 w 1844"/>
              <a:gd name="T113" fmla="*/ 1001 h 1844"/>
              <a:gd name="T114" fmla="*/ 1181 w 1844"/>
              <a:gd name="T115" fmla="*/ 1129 h 1844"/>
              <a:gd name="T116" fmla="*/ 1065 w 1844"/>
              <a:gd name="T117" fmla="*/ 1235 h 1844"/>
              <a:gd name="T118" fmla="*/ 915 w 1844"/>
              <a:gd name="T119" fmla="*/ 1306 h 1844"/>
              <a:gd name="T120" fmla="*/ 752 w 1844"/>
              <a:gd name="T121" fmla="*/ 1332 h 1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44" h="1844">
                <a:moveTo>
                  <a:pt x="230" y="0"/>
                </a:moveTo>
                <a:lnTo>
                  <a:pt x="921" y="0"/>
                </a:lnTo>
                <a:lnTo>
                  <a:pt x="1613" y="0"/>
                </a:lnTo>
                <a:lnTo>
                  <a:pt x="1625" y="0"/>
                </a:lnTo>
                <a:lnTo>
                  <a:pt x="1637" y="1"/>
                </a:lnTo>
                <a:lnTo>
                  <a:pt x="1648" y="2"/>
                </a:lnTo>
                <a:lnTo>
                  <a:pt x="1660" y="4"/>
                </a:lnTo>
                <a:lnTo>
                  <a:pt x="1671" y="7"/>
                </a:lnTo>
                <a:lnTo>
                  <a:pt x="1682" y="10"/>
                </a:lnTo>
                <a:lnTo>
                  <a:pt x="1693" y="14"/>
                </a:lnTo>
                <a:lnTo>
                  <a:pt x="1704" y="18"/>
                </a:lnTo>
                <a:lnTo>
                  <a:pt x="1714" y="22"/>
                </a:lnTo>
                <a:lnTo>
                  <a:pt x="1724" y="27"/>
                </a:lnTo>
                <a:lnTo>
                  <a:pt x="1733" y="33"/>
                </a:lnTo>
                <a:lnTo>
                  <a:pt x="1743" y="39"/>
                </a:lnTo>
                <a:lnTo>
                  <a:pt x="1752" y="45"/>
                </a:lnTo>
                <a:lnTo>
                  <a:pt x="1760" y="52"/>
                </a:lnTo>
                <a:lnTo>
                  <a:pt x="1769" y="59"/>
                </a:lnTo>
                <a:lnTo>
                  <a:pt x="1777" y="67"/>
                </a:lnTo>
                <a:lnTo>
                  <a:pt x="1784" y="75"/>
                </a:lnTo>
                <a:lnTo>
                  <a:pt x="1791" y="83"/>
                </a:lnTo>
                <a:lnTo>
                  <a:pt x="1798" y="92"/>
                </a:lnTo>
                <a:lnTo>
                  <a:pt x="1805" y="101"/>
                </a:lnTo>
                <a:lnTo>
                  <a:pt x="1811" y="110"/>
                </a:lnTo>
                <a:lnTo>
                  <a:pt x="1816" y="120"/>
                </a:lnTo>
                <a:lnTo>
                  <a:pt x="1821" y="131"/>
                </a:lnTo>
                <a:lnTo>
                  <a:pt x="1826" y="141"/>
                </a:lnTo>
                <a:lnTo>
                  <a:pt x="1830" y="151"/>
                </a:lnTo>
                <a:lnTo>
                  <a:pt x="1833" y="162"/>
                </a:lnTo>
                <a:lnTo>
                  <a:pt x="1837" y="173"/>
                </a:lnTo>
                <a:lnTo>
                  <a:pt x="1839" y="184"/>
                </a:lnTo>
                <a:lnTo>
                  <a:pt x="1841" y="195"/>
                </a:lnTo>
                <a:lnTo>
                  <a:pt x="1843" y="207"/>
                </a:lnTo>
                <a:lnTo>
                  <a:pt x="1843" y="218"/>
                </a:lnTo>
                <a:lnTo>
                  <a:pt x="1844" y="230"/>
                </a:lnTo>
                <a:lnTo>
                  <a:pt x="1844" y="921"/>
                </a:lnTo>
                <a:lnTo>
                  <a:pt x="1844" y="1613"/>
                </a:lnTo>
                <a:lnTo>
                  <a:pt x="1843" y="1625"/>
                </a:lnTo>
                <a:lnTo>
                  <a:pt x="1843" y="1638"/>
                </a:lnTo>
                <a:lnTo>
                  <a:pt x="1841" y="1649"/>
                </a:lnTo>
                <a:lnTo>
                  <a:pt x="1839" y="1661"/>
                </a:lnTo>
                <a:lnTo>
                  <a:pt x="1837" y="1672"/>
                </a:lnTo>
                <a:lnTo>
                  <a:pt x="1833" y="1683"/>
                </a:lnTo>
                <a:lnTo>
                  <a:pt x="1830" y="1693"/>
                </a:lnTo>
                <a:lnTo>
                  <a:pt x="1826" y="1704"/>
                </a:lnTo>
                <a:lnTo>
                  <a:pt x="1821" y="1714"/>
                </a:lnTo>
                <a:lnTo>
                  <a:pt x="1816" y="1724"/>
                </a:lnTo>
                <a:lnTo>
                  <a:pt x="1811" y="1733"/>
                </a:lnTo>
                <a:lnTo>
                  <a:pt x="1805" y="1743"/>
                </a:lnTo>
                <a:lnTo>
                  <a:pt x="1798" y="1752"/>
                </a:lnTo>
                <a:lnTo>
                  <a:pt x="1791" y="1760"/>
                </a:lnTo>
                <a:lnTo>
                  <a:pt x="1784" y="1769"/>
                </a:lnTo>
                <a:lnTo>
                  <a:pt x="1777" y="1777"/>
                </a:lnTo>
                <a:lnTo>
                  <a:pt x="1769" y="1784"/>
                </a:lnTo>
                <a:lnTo>
                  <a:pt x="1760" y="1791"/>
                </a:lnTo>
                <a:lnTo>
                  <a:pt x="1752" y="1798"/>
                </a:lnTo>
                <a:lnTo>
                  <a:pt x="1743" y="1805"/>
                </a:lnTo>
                <a:lnTo>
                  <a:pt x="1733" y="1811"/>
                </a:lnTo>
                <a:lnTo>
                  <a:pt x="1724" y="1816"/>
                </a:lnTo>
                <a:lnTo>
                  <a:pt x="1714" y="1821"/>
                </a:lnTo>
                <a:lnTo>
                  <a:pt x="1704" y="1826"/>
                </a:lnTo>
                <a:lnTo>
                  <a:pt x="1693" y="1830"/>
                </a:lnTo>
                <a:lnTo>
                  <a:pt x="1682" y="1834"/>
                </a:lnTo>
                <a:lnTo>
                  <a:pt x="1671" y="1837"/>
                </a:lnTo>
                <a:lnTo>
                  <a:pt x="1660" y="1839"/>
                </a:lnTo>
                <a:lnTo>
                  <a:pt x="1648" y="1841"/>
                </a:lnTo>
                <a:lnTo>
                  <a:pt x="1637" y="1843"/>
                </a:lnTo>
                <a:lnTo>
                  <a:pt x="1625" y="1844"/>
                </a:lnTo>
                <a:lnTo>
                  <a:pt x="1613" y="1844"/>
                </a:lnTo>
                <a:lnTo>
                  <a:pt x="921" y="1844"/>
                </a:lnTo>
                <a:lnTo>
                  <a:pt x="230" y="1844"/>
                </a:lnTo>
                <a:lnTo>
                  <a:pt x="218" y="1844"/>
                </a:lnTo>
                <a:lnTo>
                  <a:pt x="207" y="1843"/>
                </a:lnTo>
                <a:lnTo>
                  <a:pt x="195" y="1841"/>
                </a:lnTo>
                <a:lnTo>
                  <a:pt x="184" y="1839"/>
                </a:lnTo>
                <a:lnTo>
                  <a:pt x="172" y="1837"/>
                </a:lnTo>
                <a:lnTo>
                  <a:pt x="161" y="1834"/>
                </a:lnTo>
                <a:lnTo>
                  <a:pt x="150" y="1830"/>
                </a:lnTo>
                <a:lnTo>
                  <a:pt x="140" y="1826"/>
                </a:lnTo>
                <a:lnTo>
                  <a:pt x="130" y="1821"/>
                </a:lnTo>
                <a:lnTo>
                  <a:pt x="120" y="1816"/>
                </a:lnTo>
                <a:lnTo>
                  <a:pt x="110" y="1811"/>
                </a:lnTo>
                <a:lnTo>
                  <a:pt x="101" y="1805"/>
                </a:lnTo>
                <a:lnTo>
                  <a:pt x="92" y="1798"/>
                </a:lnTo>
                <a:lnTo>
                  <a:pt x="83" y="1791"/>
                </a:lnTo>
                <a:lnTo>
                  <a:pt x="75" y="1784"/>
                </a:lnTo>
                <a:lnTo>
                  <a:pt x="67" y="1777"/>
                </a:lnTo>
                <a:lnTo>
                  <a:pt x="59" y="1769"/>
                </a:lnTo>
                <a:lnTo>
                  <a:pt x="52" y="1760"/>
                </a:lnTo>
                <a:lnTo>
                  <a:pt x="45" y="1752"/>
                </a:lnTo>
                <a:lnTo>
                  <a:pt x="39" y="1743"/>
                </a:lnTo>
                <a:lnTo>
                  <a:pt x="33" y="1733"/>
                </a:lnTo>
                <a:lnTo>
                  <a:pt x="27" y="1724"/>
                </a:lnTo>
                <a:lnTo>
                  <a:pt x="22" y="1714"/>
                </a:lnTo>
                <a:lnTo>
                  <a:pt x="18" y="1704"/>
                </a:lnTo>
                <a:lnTo>
                  <a:pt x="14" y="1693"/>
                </a:lnTo>
                <a:lnTo>
                  <a:pt x="10" y="1683"/>
                </a:lnTo>
                <a:lnTo>
                  <a:pt x="7" y="1672"/>
                </a:lnTo>
                <a:lnTo>
                  <a:pt x="4" y="1661"/>
                </a:lnTo>
                <a:lnTo>
                  <a:pt x="2" y="1649"/>
                </a:lnTo>
                <a:lnTo>
                  <a:pt x="1" y="1638"/>
                </a:lnTo>
                <a:lnTo>
                  <a:pt x="0" y="1625"/>
                </a:lnTo>
                <a:lnTo>
                  <a:pt x="0" y="1613"/>
                </a:lnTo>
                <a:lnTo>
                  <a:pt x="0" y="921"/>
                </a:lnTo>
                <a:lnTo>
                  <a:pt x="0" y="230"/>
                </a:lnTo>
                <a:lnTo>
                  <a:pt x="0" y="218"/>
                </a:lnTo>
                <a:lnTo>
                  <a:pt x="1" y="207"/>
                </a:lnTo>
                <a:lnTo>
                  <a:pt x="2" y="195"/>
                </a:lnTo>
                <a:lnTo>
                  <a:pt x="4" y="184"/>
                </a:lnTo>
                <a:lnTo>
                  <a:pt x="7" y="173"/>
                </a:lnTo>
                <a:lnTo>
                  <a:pt x="10" y="162"/>
                </a:lnTo>
                <a:lnTo>
                  <a:pt x="14" y="151"/>
                </a:lnTo>
                <a:lnTo>
                  <a:pt x="18" y="141"/>
                </a:lnTo>
                <a:lnTo>
                  <a:pt x="22" y="131"/>
                </a:lnTo>
                <a:lnTo>
                  <a:pt x="27" y="120"/>
                </a:lnTo>
                <a:lnTo>
                  <a:pt x="33" y="110"/>
                </a:lnTo>
                <a:lnTo>
                  <a:pt x="39" y="101"/>
                </a:lnTo>
                <a:lnTo>
                  <a:pt x="45" y="92"/>
                </a:lnTo>
                <a:lnTo>
                  <a:pt x="52" y="83"/>
                </a:lnTo>
                <a:lnTo>
                  <a:pt x="59" y="75"/>
                </a:lnTo>
                <a:lnTo>
                  <a:pt x="67" y="67"/>
                </a:lnTo>
                <a:lnTo>
                  <a:pt x="75" y="59"/>
                </a:lnTo>
                <a:lnTo>
                  <a:pt x="83" y="52"/>
                </a:lnTo>
                <a:lnTo>
                  <a:pt x="92" y="45"/>
                </a:lnTo>
                <a:lnTo>
                  <a:pt x="101" y="39"/>
                </a:lnTo>
                <a:lnTo>
                  <a:pt x="110" y="33"/>
                </a:lnTo>
                <a:lnTo>
                  <a:pt x="120" y="27"/>
                </a:lnTo>
                <a:lnTo>
                  <a:pt x="130" y="22"/>
                </a:lnTo>
                <a:lnTo>
                  <a:pt x="140" y="18"/>
                </a:lnTo>
                <a:lnTo>
                  <a:pt x="150" y="14"/>
                </a:lnTo>
                <a:lnTo>
                  <a:pt x="161" y="10"/>
                </a:lnTo>
                <a:lnTo>
                  <a:pt x="172" y="7"/>
                </a:lnTo>
                <a:lnTo>
                  <a:pt x="184" y="4"/>
                </a:lnTo>
                <a:lnTo>
                  <a:pt x="195" y="2"/>
                </a:lnTo>
                <a:lnTo>
                  <a:pt x="207" y="1"/>
                </a:lnTo>
                <a:lnTo>
                  <a:pt x="218" y="0"/>
                </a:lnTo>
                <a:lnTo>
                  <a:pt x="230" y="0"/>
                </a:lnTo>
                <a:close/>
                <a:moveTo>
                  <a:pt x="230" y="96"/>
                </a:moveTo>
                <a:lnTo>
                  <a:pt x="216" y="96"/>
                </a:lnTo>
                <a:lnTo>
                  <a:pt x="203" y="98"/>
                </a:lnTo>
                <a:lnTo>
                  <a:pt x="190" y="102"/>
                </a:lnTo>
                <a:lnTo>
                  <a:pt x="184" y="104"/>
                </a:lnTo>
                <a:lnTo>
                  <a:pt x="178" y="106"/>
                </a:lnTo>
                <a:lnTo>
                  <a:pt x="165" y="112"/>
                </a:lnTo>
                <a:lnTo>
                  <a:pt x="160" y="115"/>
                </a:lnTo>
                <a:lnTo>
                  <a:pt x="154" y="118"/>
                </a:lnTo>
                <a:lnTo>
                  <a:pt x="144" y="127"/>
                </a:lnTo>
                <a:lnTo>
                  <a:pt x="135" y="136"/>
                </a:lnTo>
                <a:lnTo>
                  <a:pt x="130" y="140"/>
                </a:lnTo>
                <a:lnTo>
                  <a:pt x="126" y="145"/>
                </a:lnTo>
                <a:lnTo>
                  <a:pt x="118" y="156"/>
                </a:lnTo>
                <a:lnTo>
                  <a:pt x="115" y="161"/>
                </a:lnTo>
                <a:lnTo>
                  <a:pt x="112" y="167"/>
                </a:lnTo>
                <a:lnTo>
                  <a:pt x="109" y="172"/>
                </a:lnTo>
                <a:lnTo>
                  <a:pt x="106" y="178"/>
                </a:lnTo>
                <a:lnTo>
                  <a:pt x="104" y="184"/>
                </a:lnTo>
                <a:lnTo>
                  <a:pt x="102" y="190"/>
                </a:lnTo>
                <a:lnTo>
                  <a:pt x="100" y="197"/>
                </a:lnTo>
                <a:lnTo>
                  <a:pt x="98" y="203"/>
                </a:lnTo>
                <a:lnTo>
                  <a:pt x="97" y="210"/>
                </a:lnTo>
                <a:lnTo>
                  <a:pt x="96" y="216"/>
                </a:lnTo>
                <a:lnTo>
                  <a:pt x="96" y="223"/>
                </a:lnTo>
                <a:lnTo>
                  <a:pt x="96" y="230"/>
                </a:lnTo>
                <a:lnTo>
                  <a:pt x="96" y="921"/>
                </a:lnTo>
                <a:lnTo>
                  <a:pt x="96" y="1613"/>
                </a:lnTo>
                <a:lnTo>
                  <a:pt x="96" y="1627"/>
                </a:lnTo>
                <a:lnTo>
                  <a:pt x="98" y="1641"/>
                </a:lnTo>
                <a:lnTo>
                  <a:pt x="102" y="1654"/>
                </a:lnTo>
                <a:lnTo>
                  <a:pt x="104" y="1660"/>
                </a:lnTo>
                <a:lnTo>
                  <a:pt x="106" y="1666"/>
                </a:lnTo>
                <a:lnTo>
                  <a:pt x="112" y="1678"/>
                </a:lnTo>
                <a:lnTo>
                  <a:pt x="115" y="1684"/>
                </a:lnTo>
                <a:lnTo>
                  <a:pt x="118" y="1689"/>
                </a:lnTo>
                <a:lnTo>
                  <a:pt x="126" y="1699"/>
                </a:lnTo>
                <a:lnTo>
                  <a:pt x="135" y="1709"/>
                </a:lnTo>
                <a:lnTo>
                  <a:pt x="139" y="1713"/>
                </a:lnTo>
                <a:lnTo>
                  <a:pt x="144" y="1717"/>
                </a:lnTo>
                <a:lnTo>
                  <a:pt x="154" y="1725"/>
                </a:lnTo>
                <a:lnTo>
                  <a:pt x="160" y="1729"/>
                </a:lnTo>
                <a:lnTo>
                  <a:pt x="165" y="1732"/>
                </a:lnTo>
                <a:lnTo>
                  <a:pt x="171" y="1735"/>
                </a:lnTo>
                <a:lnTo>
                  <a:pt x="178" y="1737"/>
                </a:lnTo>
                <a:lnTo>
                  <a:pt x="184" y="1740"/>
                </a:lnTo>
                <a:lnTo>
                  <a:pt x="190" y="1742"/>
                </a:lnTo>
                <a:lnTo>
                  <a:pt x="197" y="1744"/>
                </a:lnTo>
                <a:lnTo>
                  <a:pt x="203" y="1745"/>
                </a:lnTo>
                <a:lnTo>
                  <a:pt x="210" y="1746"/>
                </a:lnTo>
                <a:lnTo>
                  <a:pt x="216" y="1747"/>
                </a:lnTo>
                <a:lnTo>
                  <a:pt x="230" y="1748"/>
                </a:lnTo>
                <a:lnTo>
                  <a:pt x="921" y="1748"/>
                </a:lnTo>
                <a:lnTo>
                  <a:pt x="1613" y="1748"/>
                </a:lnTo>
                <a:lnTo>
                  <a:pt x="1627" y="1747"/>
                </a:lnTo>
                <a:lnTo>
                  <a:pt x="1640" y="1745"/>
                </a:lnTo>
                <a:lnTo>
                  <a:pt x="1653" y="1742"/>
                </a:lnTo>
                <a:lnTo>
                  <a:pt x="1659" y="1740"/>
                </a:lnTo>
                <a:lnTo>
                  <a:pt x="1665" y="1737"/>
                </a:lnTo>
                <a:lnTo>
                  <a:pt x="1677" y="1732"/>
                </a:lnTo>
                <a:lnTo>
                  <a:pt x="1683" y="1729"/>
                </a:lnTo>
                <a:lnTo>
                  <a:pt x="1689" y="1725"/>
                </a:lnTo>
                <a:lnTo>
                  <a:pt x="1699" y="1717"/>
                </a:lnTo>
                <a:lnTo>
                  <a:pt x="1709" y="1709"/>
                </a:lnTo>
                <a:lnTo>
                  <a:pt x="1713" y="1704"/>
                </a:lnTo>
                <a:lnTo>
                  <a:pt x="1717" y="1699"/>
                </a:lnTo>
                <a:lnTo>
                  <a:pt x="1725" y="1689"/>
                </a:lnTo>
                <a:lnTo>
                  <a:pt x="1728" y="1684"/>
                </a:lnTo>
                <a:lnTo>
                  <a:pt x="1732" y="1678"/>
                </a:lnTo>
                <a:lnTo>
                  <a:pt x="1735" y="1672"/>
                </a:lnTo>
                <a:lnTo>
                  <a:pt x="1737" y="1666"/>
                </a:lnTo>
                <a:lnTo>
                  <a:pt x="1740" y="1660"/>
                </a:lnTo>
                <a:lnTo>
                  <a:pt x="1742" y="1654"/>
                </a:lnTo>
                <a:lnTo>
                  <a:pt x="1744" y="1648"/>
                </a:lnTo>
                <a:lnTo>
                  <a:pt x="1745" y="1641"/>
                </a:lnTo>
                <a:lnTo>
                  <a:pt x="1746" y="1635"/>
                </a:lnTo>
                <a:lnTo>
                  <a:pt x="1747" y="1627"/>
                </a:lnTo>
                <a:lnTo>
                  <a:pt x="1748" y="1620"/>
                </a:lnTo>
                <a:lnTo>
                  <a:pt x="1748" y="1613"/>
                </a:lnTo>
                <a:lnTo>
                  <a:pt x="1748" y="921"/>
                </a:lnTo>
                <a:lnTo>
                  <a:pt x="1748" y="230"/>
                </a:lnTo>
                <a:lnTo>
                  <a:pt x="1747" y="216"/>
                </a:lnTo>
                <a:lnTo>
                  <a:pt x="1745" y="203"/>
                </a:lnTo>
                <a:lnTo>
                  <a:pt x="1742" y="190"/>
                </a:lnTo>
                <a:lnTo>
                  <a:pt x="1740" y="184"/>
                </a:lnTo>
                <a:lnTo>
                  <a:pt x="1737" y="178"/>
                </a:lnTo>
                <a:lnTo>
                  <a:pt x="1732" y="167"/>
                </a:lnTo>
                <a:lnTo>
                  <a:pt x="1728" y="161"/>
                </a:lnTo>
                <a:lnTo>
                  <a:pt x="1725" y="156"/>
                </a:lnTo>
                <a:lnTo>
                  <a:pt x="1717" y="145"/>
                </a:lnTo>
                <a:lnTo>
                  <a:pt x="1709" y="136"/>
                </a:lnTo>
                <a:lnTo>
                  <a:pt x="1704" y="131"/>
                </a:lnTo>
                <a:lnTo>
                  <a:pt x="1699" y="127"/>
                </a:lnTo>
                <a:lnTo>
                  <a:pt x="1689" y="118"/>
                </a:lnTo>
                <a:lnTo>
                  <a:pt x="1683" y="115"/>
                </a:lnTo>
                <a:lnTo>
                  <a:pt x="1677" y="112"/>
                </a:lnTo>
                <a:lnTo>
                  <a:pt x="1671" y="109"/>
                </a:lnTo>
                <a:lnTo>
                  <a:pt x="1665" y="106"/>
                </a:lnTo>
                <a:lnTo>
                  <a:pt x="1659" y="104"/>
                </a:lnTo>
                <a:lnTo>
                  <a:pt x="1653" y="102"/>
                </a:lnTo>
                <a:lnTo>
                  <a:pt x="1647" y="100"/>
                </a:lnTo>
                <a:lnTo>
                  <a:pt x="1640" y="98"/>
                </a:lnTo>
                <a:lnTo>
                  <a:pt x="1634" y="97"/>
                </a:lnTo>
                <a:lnTo>
                  <a:pt x="1627" y="96"/>
                </a:lnTo>
                <a:lnTo>
                  <a:pt x="1613" y="96"/>
                </a:lnTo>
                <a:lnTo>
                  <a:pt x="921" y="96"/>
                </a:lnTo>
                <a:lnTo>
                  <a:pt x="230" y="96"/>
                </a:lnTo>
                <a:close/>
                <a:moveTo>
                  <a:pt x="734" y="1332"/>
                </a:moveTo>
                <a:lnTo>
                  <a:pt x="712" y="1332"/>
                </a:lnTo>
                <a:lnTo>
                  <a:pt x="691" y="1331"/>
                </a:lnTo>
                <a:lnTo>
                  <a:pt x="669" y="1329"/>
                </a:lnTo>
                <a:lnTo>
                  <a:pt x="648" y="1326"/>
                </a:lnTo>
                <a:lnTo>
                  <a:pt x="627" y="1323"/>
                </a:lnTo>
                <a:lnTo>
                  <a:pt x="606" y="1318"/>
                </a:lnTo>
                <a:lnTo>
                  <a:pt x="586" y="1314"/>
                </a:lnTo>
                <a:lnTo>
                  <a:pt x="566" y="1308"/>
                </a:lnTo>
                <a:lnTo>
                  <a:pt x="546" y="1302"/>
                </a:lnTo>
                <a:lnTo>
                  <a:pt x="526" y="1295"/>
                </a:lnTo>
                <a:lnTo>
                  <a:pt x="507" y="1287"/>
                </a:lnTo>
                <a:lnTo>
                  <a:pt x="488" y="1279"/>
                </a:lnTo>
                <a:lnTo>
                  <a:pt x="479" y="1274"/>
                </a:lnTo>
                <a:lnTo>
                  <a:pt x="470" y="1270"/>
                </a:lnTo>
                <a:lnTo>
                  <a:pt x="452" y="1260"/>
                </a:lnTo>
                <a:lnTo>
                  <a:pt x="434" y="1250"/>
                </a:lnTo>
                <a:lnTo>
                  <a:pt x="416" y="1239"/>
                </a:lnTo>
                <a:lnTo>
                  <a:pt x="429" y="1241"/>
                </a:lnTo>
                <a:lnTo>
                  <a:pt x="441" y="1241"/>
                </a:lnTo>
                <a:lnTo>
                  <a:pt x="466" y="1242"/>
                </a:lnTo>
                <a:lnTo>
                  <a:pt x="484" y="1242"/>
                </a:lnTo>
                <a:lnTo>
                  <a:pt x="502" y="1241"/>
                </a:lnTo>
                <a:lnTo>
                  <a:pt x="520" y="1239"/>
                </a:lnTo>
                <a:lnTo>
                  <a:pt x="537" y="1236"/>
                </a:lnTo>
                <a:lnTo>
                  <a:pt x="554" y="1233"/>
                </a:lnTo>
                <a:lnTo>
                  <a:pt x="571" y="1229"/>
                </a:lnTo>
                <a:lnTo>
                  <a:pt x="588" y="1224"/>
                </a:lnTo>
                <a:lnTo>
                  <a:pt x="604" y="1219"/>
                </a:lnTo>
                <a:lnTo>
                  <a:pt x="621" y="1213"/>
                </a:lnTo>
                <a:lnTo>
                  <a:pt x="636" y="1206"/>
                </a:lnTo>
                <a:lnTo>
                  <a:pt x="652" y="1199"/>
                </a:lnTo>
                <a:lnTo>
                  <a:pt x="667" y="1191"/>
                </a:lnTo>
                <a:lnTo>
                  <a:pt x="682" y="1182"/>
                </a:lnTo>
                <a:lnTo>
                  <a:pt x="696" y="1173"/>
                </a:lnTo>
                <a:lnTo>
                  <a:pt x="710" y="1164"/>
                </a:lnTo>
                <a:lnTo>
                  <a:pt x="723" y="1153"/>
                </a:lnTo>
                <a:lnTo>
                  <a:pt x="715" y="1153"/>
                </a:lnTo>
                <a:lnTo>
                  <a:pt x="707" y="1152"/>
                </a:lnTo>
                <a:lnTo>
                  <a:pt x="690" y="1150"/>
                </a:lnTo>
                <a:lnTo>
                  <a:pt x="674" y="1147"/>
                </a:lnTo>
                <a:lnTo>
                  <a:pt x="659" y="1142"/>
                </a:lnTo>
                <a:lnTo>
                  <a:pt x="644" y="1136"/>
                </a:lnTo>
                <a:lnTo>
                  <a:pt x="629" y="1129"/>
                </a:lnTo>
                <a:lnTo>
                  <a:pt x="615" y="1121"/>
                </a:lnTo>
                <a:lnTo>
                  <a:pt x="609" y="1116"/>
                </a:lnTo>
                <a:lnTo>
                  <a:pt x="602" y="1112"/>
                </a:lnTo>
                <a:lnTo>
                  <a:pt x="590" y="1102"/>
                </a:lnTo>
                <a:lnTo>
                  <a:pt x="579" y="1091"/>
                </a:lnTo>
                <a:lnTo>
                  <a:pt x="573" y="1085"/>
                </a:lnTo>
                <a:lnTo>
                  <a:pt x="568" y="1079"/>
                </a:lnTo>
                <a:lnTo>
                  <a:pt x="563" y="1073"/>
                </a:lnTo>
                <a:lnTo>
                  <a:pt x="558" y="1066"/>
                </a:lnTo>
                <a:lnTo>
                  <a:pt x="550" y="1053"/>
                </a:lnTo>
                <a:lnTo>
                  <a:pt x="542" y="1039"/>
                </a:lnTo>
                <a:lnTo>
                  <a:pt x="535" y="1025"/>
                </a:lnTo>
                <a:lnTo>
                  <a:pt x="532" y="1017"/>
                </a:lnTo>
                <a:lnTo>
                  <a:pt x="530" y="1009"/>
                </a:lnTo>
                <a:lnTo>
                  <a:pt x="539" y="1011"/>
                </a:lnTo>
                <a:lnTo>
                  <a:pt x="549" y="1012"/>
                </a:lnTo>
                <a:lnTo>
                  <a:pt x="559" y="1013"/>
                </a:lnTo>
                <a:lnTo>
                  <a:pt x="569" y="1013"/>
                </a:lnTo>
                <a:lnTo>
                  <a:pt x="583" y="1013"/>
                </a:lnTo>
                <a:lnTo>
                  <a:pt x="590" y="1012"/>
                </a:lnTo>
                <a:lnTo>
                  <a:pt x="597" y="1011"/>
                </a:lnTo>
                <a:lnTo>
                  <a:pt x="610" y="1009"/>
                </a:lnTo>
                <a:lnTo>
                  <a:pt x="623" y="1006"/>
                </a:lnTo>
                <a:lnTo>
                  <a:pt x="606" y="1002"/>
                </a:lnTo>
                <a:lnTo>
                  <a:pt x="597" y="999"/>
                </a:lnTo>
                <a:lnTo>
                  <a:pt x="589" y="996"/>
                </a:lnTo>
                <a:lnTo>
                  <a:pt x="581" y="992"/>
                </a:lnTo>
                <a:lnTo>
                  <a:pt x="573" y="989"/>
                </a:lnTo>
                <a:lnTo>
                  <a:pt x="565" y="985"/>
                </a:lnTo>
                <a:lnTo>
                  <a:pt x="557" y="980"/>
                </a:lnTo>
                <a:lnTo>
                  <a:pt x="550" y="975"/>
                </a:lnTo>
                <a:lnTo>
                  <a:pt x="543" y="971"/>
                </a:lnTo>
                <a:lnTo>
                  <a:pt x="529" y="960"/>
                </a:lnTo>
                <a:lnTo>
                  <a:pt x="523" y="954"/>
                </a:lnTo>
                <a:lnTo>
                  <a:pt x="516" y="948"/>
                </a:lnTo>
                <a:lnTo>
                  <a:pt x="505" y="935"/>
                </a:lnTo>
                <a:lnTo>
                  <a:pt x="499" y="928"/>
                </a:lnTo>
                <a:lnTo>
                  <a:pt x="494" y="921"/>
                </a:lnTo>
                <a:lnTo>
                  <a:pt x="485" y="906"/>
                </a:lnTo>
                <a:lnTo>
                  <a:pt x="480" y="898"/>
                </a:lnTo>
                <a:lnTo>
                  <a:pt x="476" y="890"/>
                </a:lnTo>
                <a:lnTo>
                  <a:pt x="473" y="882"/>
                </a:lnTo>
                <a:lnTo>
                  <a:pt x="470" y="874"/>
                </a:lnTo>
                <a:lnTo>
                  <a:pt x="464" y="857"/>
                </a:lnTo>
                <a:lnTo>
                  <a:pt x="462" y="848"/>
                </a:lnTo>
                <a:lnTo>
                  <a:pt x="460" y="839"/>
                </a:lnTo>
                <a:lnTo>
                  <a:pt x="459" y="830"/>
                </a:lnTo>
                <a:lnTo>
                  <a:pt x="458" y="821"/>
                </a:lnTo>
                <a:lnTo>
                  <a:pt x="457" y="803"/>
                </a:lnTo>
                <a:lnTo>
                  <a:pt x="457" y="800"/>
                </a:lnTo>
                <a:lnTo>
                  <a:pt x="468" y="805"/>
                </a:lnTo>
                <a:lnTo>
                  <a:pt x="479" y="810"/>
                </a:lnTo>
                <a:lnTo>
                  <a:pt x="490" y="815"/>
                </a:lnTo>
                <a:lnTo>
                  <a:pt x="502" y="818"/>
                </a:lnTo>
                <a:lnTo>
                  <a:pt x="514" y="821"/>
                </a:lnTo>
                <a:lnTo>
                  <a:pt x="520" y="823"/>
                </a:lnTo>
                <a:lnTo>
                  <a:pt x="526" y="824"/>
                </a:lnTo>
                <a:lnTo>
                  <a:pt x="532" y="824"/>
                </a:lnTo>
                <a:lnTo>
                  <a:pt x="538" y="825"/>
                </a:lnTo>
                <a:lnTo>
                  <a:pt x="551" y="826"/>
                </a:lnTo>
                <a:lnTo>
                  <a:pt x="541" y="819"/>
                </a:lnTo>
                <a:lnTo>
                  <a:pt x="531" y="811"/>
                </a:lnTo>
                <a:lnTo>
                  <a:pt x="522" y="802"/>
                </a:lnTo>
                <a:lnTo>
                  <a:pt x="513" y="793"/>
                </a:lnTo>
                <a:lnTo>
                  <a:pt x="505" y="784"/>
                </a:lnTo>
                <a:lnTo>
                  <a:pt x="501" y="779"/>
                </a:lnTo>
                <a:lnTo>
                  <a:pt x="497" y="774"/>
                </a:lnTo>
                <a:lnTo>
                  <a:pt x="490" y="763"/>
                </a:lnTo>
                <a:lnTo>
                  <a:pt x="484" y="753"/>
                </a:lnTo>
                <a:lnTo>
                  <a:pt x="478" y="741"/>
                </a:lnTo>
                <a:lnTo>
                  <a:pt x="473" y="730"/>
                </a:lnTo>
                <a:lnTo>
                  <a:pt x="469" y="718"/>
                </a:lnTo>
                <a:lnTo>
                  <a:pt x="465" y="705"/>
                </a:lnTo>
                <a:lnTo>
                  <a:pt x="462" y="693"/>
                </a:lnTo>
                <a:lnTo>
                  <a:pt x="460" y="680"/>
                </a:lnTo>
                <a:lnTo>
                  <a:pt x="459" y="667"/>
                </a:lnTo>
                <a:lnTo>
                  <a:pt x="459" y="653"/>
                </a:lnTo>
                <a:lnTo>
                  <a:pt x="459" y="639"/>
                </a:lnTo>
                <a:lnTo>
                  <a:pt x="460" y="632"/>
                </a:lnTo>
                <a:lnTo>
                  <a:pt x="461" y="625"/>
                </a:lnTo>
                <a:lnTo>
                  <a:pt x="463" y="612"/>
                </a:lnTo>
                <a:lnTo>
                  <a:pt x="466" y="598"/>
                </a:lnTo>
                <a:lnTo>
                  <a:pt x="470" y="586"/>
                </a:lnTo>
                <a:lnTo>
                  <a:pt x="475" y="573"/>
                </a:lnTo>
                <a:lnTo>
                  <a:pt x="480" y="561"/>
                </a:lnTo>
                <a:lnTo>
                  <a:pt x="487" y="549"/>
                </a:lnTo>
                <a:lnTo>
                  <a:pt x="507" y="572"/>
                </a:lnTo>
                <a:lnTo>
                  <a:pt x="517" y="583"/>
                </a:lnTo>
                <a:lnTo>
                  <a:pt x="527" y="594"/>
                </a:lnTo>
                <a:lnTo>
                  <a:pt x="538" y="605"/>
                </a:lnTo>
                <a:lnTo>
                  <a:pt x="549" y="615"/>
                </a:lnTo>
                <a:lnTo>
                  <a:pt x="572" y="635"/>
                </a:lnTo>
                <a:lnTo>
                  <a:pt x="584" y="644"/>
                </a:lnTo>
                <a:lnTo>
                  <a:pt x="590" y="649"/>
                </a:lnTo>
                <a:lnTo>
                  <a:pt x="596" y="653"/>
                </a:lnTo>
                <a:lnTo>
                  <a:pt x="609" y="662"/>
                </a:lnTo>
                <a:lnTo>
                  <a:pt x="621" y="670"/>
                </a:lnTo>
                <a:lnTo>
                  <a:pt x="634" y="679"/>
                </a:lnTo>
                <a:lnTo>
                  <a:pt x="647" y="686"/>
                </a:lnTo>
                <a:lnTo>
                  <a:pt x="674" y="701"/>
                </a:lnTo>
                <a:lnTo>
                  <a:pt x="688" y="708"/>
                </a:lnTo>
                <a:lnTo>
                  <a:pt x="702" y="715"/>
                </a:lnTo>
                <a:lnTo>
                  <a:pt x="716" y="721"/>
                </a:lnTo>
                <a:lnTo>
                  <a:pt x="730" y="726"/>
                </a:lnTo>
                <a:lnTo>
                  <a:pt x="745" y="732"/>
                </a:lnTo>
                <a:lnTo>
                  <a:pt x="759" y="737"/>
                </a:lnTo>
                <a:lnTo>
                  <a:pt x="774" y="742"/>
                </a:lnTo>
                <a:lnTo>
                  <a:pt x="789" y="746"/>
                </a:lnTo>
                <a:lnTo>
                  <a:pt x="804" y="750"/>
                </a:lnTo>
                <a:lnTo>
                  <a:pt x="819" y="753"/>
                </a:lnTo>
                <a:lnTo>
                  <a:pt x="835" y="756"/>
                </a:lnTo>
                <a:lnTo>
                  <a:pt x="850" y="759"/>
                </a:lnTo>
                <a:lnTo>
                  <a:pt x="866" y="761"/>
                </a:lnTo>
                <a:lnTo>
                  <a:pt x="882" y="763"/>
                </a:lnTo>
                <a:lnTo>
                  <a:pt x="898" y="765"/>
                </a:lnTo>
                <a:lnTo>
                  <a:pt x="914" y="766"/>
                </a:lnTo>
                <a:lnTo>
                  <a:pt x="912" y="754"/>
                </a:lnTo>
                <a:lnTo>
                  <a:pt x="910" y="742"/>
                </a:lnTo>
                <a:lnTo>
                  <a:pt x="909" y="731"/>
                </a:lnTo>
                <a:lnTo>
                  <a:pt x="909" y="718"/>
                </a:lnTo>
                <a:lnTo>
                  <a:pt x="909" y="708"/>
                </a:lnTo>
                <a:lnTo>
                  <a:pt x="910" y="697"/>
                </a:lnTo>
                <a:lnTo>
                  <a:pt x="911" y="687"/>
                </a:lnTo>
                <a:lnTo>
                  <a:pt x="913" y="677"/>
                </a:lnTo>
                <a:lnTo>
                  <a:pt x="915" y="667"/>
                </a:lnTo>
                <a:lnTo>
                  <a:pt x="918" y="657"/>
                </a:lnTo>
                <a:lnTo>
                  <a:pt x="921" y="647"/>
                </a:lnTo>
                <a:lnTo>
                  <a:pt x="925" y="638"/>
                </a:lnTo>
                <a:lnTo>
                  <a:pt x="929" y="629"/>
                </a:lnTo>
                <a:lnTo>
                  <a:pt x="934" y="620"/>
                </a:lnTo>
                <a:lnTo>
                  <a:pt x="939" y="611"/>
                </a:lnTo>
                <a:lnTo>
                  <a:pt x="944" y="603"/>
                </a:lnTo>
                <a:lnTo>
                  <a:pt x="950" y="594"/>
                </a:lnTo>
                <a:lnTo>
                  <a:pt x="956" y="587"/>
                </a:lnTo>
                <a:lnTo>
                  <a:pt x="963" y="579"/>
                </a:lnTo>
                <a:lnTo>
                  <a:pt x="969" y="572"/>
                </a:lnTo>
                <a:lnTo>
                  <a:pt x="977" y="565"/>
                </a:lnTo>
                <a:lnTo>
                  <a:pt x="984" y="558"/>
                </a:lnTo>
                <a:lnTo>
                  <a:pt x="992" y="552"/>
                </a:lnTo>
                <a:lnTo>
                  <a:pt x="1000" y="547"/>
                </a:lnTo>
                <a:lnTo>
                  <a:pt x="1009" y="541"/>
                </a:lnTo>
                <a:lnTo>
                  <a:pt x="1017" y="536"/>
                </a:lnTo>
                <a:lnTo>
                  <a:pt x="1026" y="532"/>
                </a:lnTo>
                <a:lnTo>
                  <a:pt x="1035" y="527"/>
                </a:lnTo>
                <a:lnTo>
                  <a:pt x="1045" y="524"/>
                </a:lnTo>
                <a:lnTo>
                  <a:pt x="1054" y="520"/>
                </a:lnTo>
                <a:lnTo>
                  <a:pt x="1064" y="518"/>
                </a:lnTo>
                <a:lnTo>
                  <a:pt x="1074" y="515"/>
                </a:lnTo>
                <a:lnTo>
                  <a:pt x="1085" y="514"/>
                </a:lnTo>
                <a:lnTo>
                  <a:pt x="1095" y="512"/>
                </a:lnTo>
                <a:lnTo>
                  <a:pt x="1105" y="511"/>
                </a:lnTo>
                <a:lnTo>
                  <a:pt x="1116" y="511"/>
                </a:lnTo>
                <a:lnTo>
                  <a:pt x="1127" y="511"/>
                </a:lnTo>
                <a:lnTo>
                  <a:pt x="1138" y="512"/>
                </a:lnTo>
                <a:lnTo>
                  <a:pt x="1149" y="514"/>
                </a:lnTo>
                <a:lnTo>
                  <a:pt x="1160" y="516"/>
                </a:lnTo>
                <a:lnTo>
                  <a:pt x="1170" y="518"/>
                </a:lnTo>
                <a:lnTo>
                  <a:pt x="1180" y="521"/>
                </a:lnTo>
                <a:lnTo>
                  <a:pt x="1190" y="525"/>
                </a:lnTo>
                <a:lnTo>
                  <a:pt x="1200" y="529"/>
                </a:lnTo>
                <a:lnTo>
                  <a:pt x="1209" y="533"/>
                </a:lnTo>
                <a:lnTo>
                  <a:pt x="1219" y="538"/>
                </a:lnTo>
                <a:lnTo>
                  <a:pt x="1228" y="544"/>
                </a:lnTo>
                <a:lnTo>
                  <a:pt x="1236" y="549"/>
                </a:lnTo>
                <a:lnTo>
                  <a:pt x="1245" y="556"/>
                </a:lnTo>
                <a:lnTo>
                  <a:pt x="1253" y="562"/>
                </a:lnTo>
                <a:lnTo>
                  <a:pt x="1260" y="569"/>
                </a:lnTo>
                <a:lnTo>
                  <a:pt x="1264" y="573"/>
                </a:lnTo>
                <a:lnTo>
                  <a:pt x="1267" y="577"/>
                </a:lnTo>
                <a:lnTo>
                  <a:pt x="1285" y="573"/>
                </a:lnTo>
                <a:lnTo>
                  <a:pt x="1302" y="568"/>
                </a:lnTo>
                <a:lnTo>
                  <a:pt x="1319" y="563"/>
                </a:lnTo>
                <a:lnTo>
                  <a:pt x="1336" y="557"/>
                </a:lnTo>
                <a:lnTo>
                  <a:pt x="1344" y="554"/>
                </a:lnTo>
                <a:lnTo>
                  <a:pt x="1352" y="550"/>
                </a:lnTo>
                <a:lnTo>
                  <a:pt x="1368" y="543"/>
                </a:lnTo>
                <a:lnTo>
                  <a:pt x="1384" y="535"/>
                </a:lnTo>
                <a:lnTo>
                  <a:pt x="1399" y="526"/>
                </a:lnTo>
                <a:lnTo>
                  <a:pt x="1392" y="544"/>
                </a:lnTo>
                <a:lnTo>
                  <a:pt x="1389" y="553"/>
                </a:lnTo>
                <a:lnTo>
                  <a:pt x="1384" y="561"/>
                </a:lnTo>
                <a:lnTo>
                  <a:pt x="1375" y="577"/>
                </a:lnTo>
                <a:lnTo>
                  <a:pt x="1369" y="585"/>
                </a:lnTo>
                <a:lnTo>
                  <a:pt x="1364" y="592"/>
                </a:lnTo>
                <a:lnTo>
                  <a:pt x="1352" y="606"/>
                </a:lnTo>
                <a:lnTo>
                  <a:pt x="1345" y="613"/>
                </a:lnTo>
                <a:lnTo>
                  <a:pt x="1338" y="619"/>
                </a:lnTo>
                <a:lnTo>
                  <a:pt x="1324" y="631"/>
                </a:lnTo>
                <a:lnTo>
                  <a:pt x="1316" y="636"/>
                </a:lnTo>
                <a:lnTo>
                  <a:pt x="1308" y="641"/>
                </a:lnTo>
                <a:lnTo>
                  <a:pt x="1324" y="639"/>
                </a:lnTo>
                <a:lnTo>
                  <a:pt x="1339" y="636"/>
                </a:lnTo>
                <a:lnTo>
                  <a:pt x="1354" y="633"/>
                </a:lnTo>
                <a:lnTo>
                  <a:pt x="1369" y="629"/>
                </a:lnTo>
                <a:lnTo>
                  <a:pt x="1384" y="625"/>
                </a:lnTo>
                <a:lnTo>
                  <a:pt x="1399" y="620"/>
                </a:lnTo>
                <a:lnTo>
                  <a:pt x="1413" y="614"/>
                </a:lnTo>
                <a:lnTo>
                  <a:pt x="1420" y="611"/>
                </a:lnTo>
                <a:lnTo>
                  <a:pt x="1427" y="608"/>
                </a:lnTo>
                <a:lnTo>
                  <a:pt x="1416" y="624"/>
                </a:lnTo>
                <a:lnTo>
                  <a:pt x="1405" y="639"/>
                </a:lnTo>
                <a:lnTo>
                  <a:pt x="1393" y="653"/>
                </a:lnTo>
                <a:lnTo>
                  <a:pt x="1380" y="667"/>
                </a:lnTo>
                <a:lnTo>
                  <a:pt x="1367" y="680"/>
                </a:lnTo>
                <a:lnTo>
                  <a:pt x="1353" y="692"/>
                </a:lnTo>
                <a:lnTo>
                  <a:pt x="1338" y="704"/>
                </a:lnTo>
                <a:lnTo>
                  <a:pt x="1331" y="710"/>
                </a:lnTo>
                <a:lnTo>
                  <a:pt x="1324" y="716"/>
                </a:lnTo>
                <a:lnTo>
                  <a:pt x="1324" y="729"/>
                </a:lnTo>
                <a:lnTo>
                  <a:pt x="1324" y="743"/>
                </a:lnTo>
                <a:lnTo>
                  <a:pt x="1324" y="768"/>
                </a:lnTo>
                <a:lnTo>
                  <a:pt x="1322" y="794"/>
                </a:lnTo>
                <a:lnTo>
                  <a:pt x="1320" y="807"/>
                </a:lnTo>
                <a:lnTo>
                  <a:pt x="1319" y="820"/>
                </a:lnTo>
                <a:lnTo>
                  <a:pt x="1317" y="833"/>
                </a:lnTo>
                <a:lnTo>
                  <a:pt x="1314" y="847"/>
                </a:lnTo>
                <a:lnTo>
                  <a:pt x="1312" y="860"/>
                </a:lnTo>
                <a:lnTo>
                  <a:pt x="1309" y="873"/>
                </a:lnTo>
                <a:lnTo>
                  <a:pt x="1302" y="899"/>
                </a:lnTo>
                <a:lnTo>
                  <a:pt x="1295" y="925"/>
                </a:lnTo>
                <a:lnTo>
                  <a:pt x="1286" y="950"/>
                </a:lnTo>
                <a:lnTo>
                  <a:pt x="1281" y="963"/>
                </a:lnTo>
                <a:lnTo>
                  <a:pt x="1275" y="976"/>
                </a:lnTo>
                <a:lnTo>
                  <a:pt x="1270" y="988"/>
                </a:lnTo>
                <a:lnTo>
                  <a:pt x="1264" y="1001"/>
                </a:lnTo>
                <a:lnTo>
                  <a:pt x="1258" y="1013"/>
                </a:lnTo>
                <a:lnTo>
                  <a:pt x="1252" y="1025"/>
                </a:lnTo>
                <a:lnTo>
                  <a:pt x="1245" y="1038"/>
                </a:lnTo>
                <a:lnTo>
                  <a:pt x="1238" y="1050"/>
                </a:lnTo>
                <a:lnTo>
                  <a:pt x="1223" y="1073"/>
                </a:lnTo>
                <a:lnTo>
                  <a:pt x="1215" y="1085"/>
                </a:lnTo>
                <a:lnTo>
                  <a:pt x="1207" y="1096"/>
                </a:lnTo>
                <a:lnTo>
                  <a:pt x="1190" y="1119"/>
                </a:lnTo>
                <a:lnTo>
                  <a:pt x="1181" y="1129"/>
                </a:lnTo>
                <a:lnTo>
                  <a:pt x="1172" y="1140"/>
                </a:lnTo>
                <a:lnTo>
                  <a:pt x="1153" y="1161"/>
                </a:lnTo>
                <a:lnTo>
                  <a:pt x="1143" y="1171"/>
                </a:lnTo>
                <a:lnTo>
                  <a:pt x="1133" y="1181"/>
                </a:lnTo>
                <a:lnTo>
                  <a:pt x="1111" y="1200"/>
                </a:lnTo>
                <a:lnTo>
                  <a:pt x="1100" y="1209"/>
                </a:lnTo>
                <a:lnTo>
                  <a:pt x="1088" y="1218"/>
                </a:lnTo>
                <a:lnTo>
                  <a:pt x="1077" y="1227"/>
                </a:lnTo>
                <a:lnTo>
                  <a:pt x="1065" y="1235"/>
                </a:lnTo>
                <a:lnTo>
                  <a:pt x="1053" y="1243"/>
                </a:lnTo>
                <a:lnTo>
                  <a:pt x="1040" y="1251"/>
                </a:lnTo>
                <a:lnTo>
                  <a:pt x="1014" y="1265"/>
                </a:lnTo>
                <a:lnTo>
                  <a:pt x="1001" y="1272"/>
                </a:lnTo>
                <a:lnTo>
                  <a:pt x="987" y="1279"/>
                </a:lnTo>
                <a:lnTo>
                  <a:pt x="973" y="1285"/>
                </a:lnTo>
                <a:lnTo>
                  <a:pt x="959" y="1291"/>
                </a:lnTo>
                <a:lnTo>
                  <a:pt x="930" y="1301"/>
                </a:lnTo>
                <a:lnTo>
                  <a:pt x="915" y="1306"/>
                </a:lnTo>
                <a:lnTo>
                  <a:pt x="900" y="1311"/>
                </a:lnTo>
                <a:lnTo>
                  <a:pt x="869" y="1318"/>
                </a:lnTo>
                <a:lnTo>
                  <a:pt x="853" y="1322"/>
                </a:lnTo>
                <a:lnTo>
                  <a:pt x="837" y="1324"/>
                </a:lnTo>
                <a:lnTo>
                  <a:pt x="820" y="1327"/>
                </a:lnTo>
                <a:lnTo>
                  <a:pt x="804" y="1329"/>
                </a:lnTo>
                <a:lnTo>
                  <a:pt x="787" y="1330"/>
                </a:lnTo>
                <a:lnTo>
                  <a:pt x="769" y="1331"/>
                </a:lnTo>
                <a:lnTo>
                  <a:pt x="752" y="1332"/>
                </a:lnTo>
                <a:lnTo>
                  <a:pt x="734" y="13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B4245"/>
              </a:solidFill>
              <a:latin typeface="Arial"/>
            </a:endParaRPr>
          </a:p>
        </p:txBody>
      </p:sp>
      <p:sp>
        <p:nvSpPr>
          <p:cNvPr id="50" name="Freeform 7"/>
          <p:cNvSpPr>
            <a:spLocks noChangeAspect="1" noEditPoints="1"/>
          </p:cNvSpPr>
          <p:nvPr/>
        </p:nvSpPr>
        <p:spPr bwMode="auto">
          <a:xfrm>
            <a:off x="7106000" y="5554030"/>
            <a:ext cx="360278" cy="360083"/>
          </a:xfrm>
          <a:custGeom>
            <a:avLst/>
            <a:gdLst>
              <a:gd name="T0" fmla="*/ 1671 w 1844"/>
              <a:gd name="T1" fmla="*/ 7 h 1843"/>
              <a:gd name="T2" fmla="*/ 1752 w 1844"/>
              <a:gd name="T3" fmla="*/ 46 h 1843"/>
              <a:gd name="T4" fmla="*/ 1811 w 1844"/>
              <a:gd name="T5" fmla="*/ 110 h 1843"/>
              <a:gd name="T6" fmla="*/ 1841 w 1844"/>
              <a:gd name="T7" fmla="*/ 194 h 1843"/>
              <a:gd name="T8" fmla="*/ 1841 w 1844"/>
              <a:gd name="T9" fmla="*/ 1649 h 1843"/>
              <a:gd name="T10" fmla="*/ 1811 w 1844"/>
              <a:gd name="T11" fmla="*/ 1733 h 1843"/>
              <a:gd name="T12" fmla="*/ 1752 w 1844"/>
              <a:gd name="T13" fmla="*/ 1798 h 1843"/>
              <a:gd name="T14" fmla="*/ 1671 w 1844"/>
              <a:gd name="T15" fmla="*/ 1836 h 1843"/>
              <a:gd name="T16" fmla="*/ 218 w 1844"/>
              <a:gd name="T17" fmla="*/ 1843 h 1843"/>
              <a:gd name="T18" fmla="*/ 130 w 1844"/>
              <a:gd name="T19" fmla="*/ 1821 h 1843"/>
              <a:gd name="T20" fmla="*/ 59 w 1844"/>
              <a:gd name="T21" fmla="*/ 1768 h 1843"/>
              <a:gd name="T22" fmla="*/ 14 w 1844"/>
              <a:gd name="T23" fmla="*/ 1693 h 1843"/>
              <a:gd name="T24" fmla="*/ 0 w 1844"/>
              <a:gd name="T25" fmla="*/ 921 h 1843"/>
              <a:gd name="T26" fmla="*/ 14 w 1844"/>
              <a:gd name="T27" fmla="*/ 151 h 1843"/>
              <a:gd name="T28" fmla="*/ 59 w 1844"/>
              <a:gd name="T29" fmla="*/ 75 h 1843"/>
              <a:gd name="T30" fmla="*/ 130 w 1844"/>
              <a:gd name="T31" fmla="*/ 23 h 1843"/>
              <a:gd name="T32" fmla="*/ 218 w 1844"/>
              <a:gd name="T33" fmla="*/ 0 h 1843"/>
              <a:gd name="T34" fmla="*/ 165 w 1844"/>
              <a:gd name="T35" fmla="*/ 112 h 1843"/>
              <a:gd name="T36" fmla="*/ 115 w 1844"/>
              <a:gd name="T37" fmla="*/ 160 h 1843"/>
              <a:gd name="T38" fmla="*/ 97 w 1844"/>
              <a:gd name="T39" fmla="*/ 209 h 1843"/>
              <a:gd name="T40" fmla="*/ 102 w 1844"/>
              <a:gd name="T41" fmla="*/ 1653 h 1843"/>
              <a:gd name="T42" fmla="*/ 139 w 1844"/>
              <a:gd name="T43" fmla="*/ 1712 h 1843"/>
              <a:gd name="T44" fmla="*/ 190 w 1844"/>
              <a:gd name="T45" fmla="*/ 1741 h 1843"/>
              <a:gd name="T46" fmla="*/ 1627 w 1844"/>
              <a:gd name="T47" fmla="*/ 1746 h 1843"/>
              <a:gd name="T48" fmla="*/ 1699 w 1844"/>
              <a:gd name="T49" fmla="*/ 1717 h 1843"/>
              <a:gd name="T50" fmla="*/ 1737 w 1844"/>
              <a:gd name="T51" fmla="*/ 1666 h 1843"/>
              <a:gd name="T52" fmla="*/ 1748 w 1844"/>
              <a:gd name="T53" fmla="*/ 1614 h 1843"/>
              <a:gd name="T54" fmla="*/ 1732 w 1844"/>
              <a:gd name="T55" fmla="*/ 166 h 1843"/>
              <a:gd name="T56" fmla="*/ 1683 w 1844"/>
              <a:gd name="T57" fmla="*/ 115 h 1843"/>
              <a:gd name="T58" fmla="*/ 1634 w 1844"/>
              <a:gd name="T59" fmla="*/ 98 h 1843"/>
              <a:gd name="T60" fmla="*/ 1396 w 1844"/>
              <a:gd name="T61" fmla="*/ 531 h 1843"/>
              <a:gd name="T62" fmla="*/ 1421 w 1844"/>
              <a:gd name="T63" fmla="*/ 552 h 1843"/>
              <a:gd name="T64" fmla="*/ 1424 w 1844"/>
              <a:gd name="T65" fmla="*/ 1283 h 1843"/>
              <a:gd name="T66" fmla="*/ 1394 w 1844"/>
              <a:gd name="T67" fmla="*/ 1312 h 1843"/>
              <a:gd name="T68" fmla="*/ 449 w 1844"/>
              <a:gd name="T69" fmla="*/ 1312 h 1843"/>
              <a:gd name="T70" fmla="*/ 420 w 1844"/>
              <a:gd name="T71" fmla="*/ 1283 h 1843"/>
              <a:gd name="T72" fmla="*/ 421 w 1844"/>
              <a:gd name="T73" fmla="*/ 556 h 1843"/>
              <a:gd name="T74" fmla="*/ 453 w 1844"/>
              <a:gd name="T75" fmla="*/ 530 h 1843"/>
              <a:gd name="T76" fmla="*/ 508 w 1844"/>
              <a:gd name="T77" fmla="*/ 619 h 1843"/>
              <a:gd name="T78" fmla="*/ 598 w 1844"/>
              <a:gd name="T79" fmla="*/ 1142 h 1843"/>
              <a:gd name="T80" fmla="*/ 582 w 1844"/>
              <a:gd name="T81" fmla="*/ 1111 h 1843"/>
              <a:gd name="T82" fmla="*/ 728 w 1844"/>
              <a:gd name="T83" fmla="*/ 913 h 1843"/>
              <a:gd name="T84" fmla="*/ 757 w 1844"/>
              <a:gd name="T85" fmla="*/ 909 h 1843"/>
              <a:gd name="T86" fmla="*/ 986 w 1844"/>
              <a:gd name="T87" fmla="*/ 791 h 1843"/>
              <a:gd name="T88" fmla="*/ 1015 w 1844"/>
              <a:gd name="T89" fmla="*/ 784 h 1843"/>
              <a:gd name="T90" fmla="*/ 1261 w 1844"/>
              <a:gd name="T91" fmla="*/ 1101 h 1843"/>
              <a:gd name="T92" fmla="*/ 1254 w 1844"/>
              <a:gd name="T93" fmla="*/ 1136 h 1843"/>
              <a:gd name="T94" fmla="*/ 717 w 1844"/>
              <a:gd name="T95" fmla="*/ 768 h 1843"/>
              <a:gd name="T96" fmla="*/ 738 w 1844"/>
              <a:gd name="T97" fmla="*/ 717 h 1843"/>
              <a:gd name="T98" fmla="*/ 789 w 1844"/>
              <a:gd name="T99" fmla="*/ 696 h 1843"/>
              <a:gd name="T100" fmla="*/ 840 w 1844"/>
              <a:gd name="T101" fmla="*/ 717 h 1843"/>
              <a:gd name="T102" fmla="*/ 862 w 1844"/>
              <a:gd name="T103" fmla="*/ 768 h 1843"/>
              <a:gd name="T104" fmla="*/ 840 w 1844"/>
              <a:gd name="T105" fmla="*/ 819 h 1843"/>
              <a:gd name="T106" fmla="*/ 789 w 1844"/>
              <a:gd name="T107" fmla="*/ 840 h 1843"/>
              <a:gd name="T108" fmla="*/ 738 w 1844"/>
              <a:gd name="T109" fmla="*/ 819 h 1843"/>
              <a:gd name="T110" fmla="*/ 717 w 1844"/>
              <a:gd name="T111" fmla="*/ 768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844" h="1843">
                <a:moveTo>
                  <a:pt x="230" y="0"/>
                </a:moveTo>
                <a:lnTo>
                  <a:pt x="921" y="0"/>
                </a:lnTo>
                <a:lnTo>
                  <a:pt x="1613" y="0"/>
                </a:lnTo>
                <a:lnTo>
                  <a:pt x="1625" y="0"/>
                </a:lnTo>
                <a:lnTo>
                  <a:pt x="1637" y="1"/>
                </a:lnTo>
                <a:lnTo>
                  <a:pt x="1648" y="3"/>
                </a:lnTo>
                <a:lnTo>
                  <a:pt x="1660" y="5"/>
                </a:lnTo>
                <a:lnTo>
                  <a:pt x="1671" y="7"/>
                </a:lnTo>
                <a:lnTo>
                  <a:pt x="1682" y="10"/>
                </a:lnTo>
                <a:lnTo>
                  <a:pt x="1693" y="14"/>
                </a:lnTo>
                <a:lnTo>
                  <a:pt x="1704" y="18"/>
                </a:lnTo>
                <a:lnTo>
                  <a:pt x="1714" y="23"/>
                </a:lnTo>
                <a:lnTo>
                  <a:pt x="1724" y="28"/>
                </a:lnTo>
                <a:lnTo>
                  <a:pt x="1733" y="33"/>
                </a:lnTo>
                <a:lnTo>
                  <a:pt x="1743" y="39"/>
                </a:lnTo>
                <a:lnTo>
                  <a:pt x="1752" y="46"/>
                </a:lnTo>
                <a:lnTo>
                  <a:pt x="1760" y="52"/>
                </a:lnTo>
                <a:lnTo>
                  <a:pt x="1769" y="60"/>
                </a:lnTo>
                <a:lnTo>
                  <a:pt x="1777" y="67"/>
                </a:lnTo>
                <a:lnTo>
                  <a:pt x="1784" y="75"/>
                </a:lnTo>
                <a:lnTo>
                  <a:pt x="1791" y="83"/>
                </a:lnTo>
                <a:lnTo>
                  <a:pt x="1798" y="92"/>
                </a:lnTo>
                <a:lnTo>
                  <a:pt x="1805" y="101"/>
                </a:lnTo>
                <a:lnTo>
                  <a:pt x="1811" y="110"/>
                </a:lnTo>
                <a:lnTo>
                  <a:pt x="1816" y="120"/>
                </a:lnTo>
                <a:lnTo>
                  <a:pt x="1821" y="130"/>
                </a:lnTo>
                <a:lnTo>
                  <a:pt x="1826" y="140"/>
                </a:lnTo>
                <a:lnTo>
                  <a:pt x="1830" y="151"/>
                </a:lnTo>
                <a:lnTo>
                  <a:pt x="1833" y="161"/>
                </a:lnTo>
                <a:lnTo>
                  <a:pt x="1837" y="172"/>
                </a:lnTo>
                <a:lnTo>
                  <a:pt x="1839" y="183"/>
                </a:lnTo>
                <a:lnTo>
                  <a:pt x="1841" y="194"/>
                </a:lnTo>
                <a:lnTo>
                  <a:pt x="1843" y="206"/>
                </a:lnTo>
                <a:lnTo>
                  <a:pt x="1843" y="218"/>
                </a:lnTo>
                <a:lnTo>
                  <a:pt x="1844" y="229"/>
                </a:lnTo>
                <a:lnTo>
                  <a:pt x="1844" y="921"/>
                </a:lnTo>
                <a:lnTo>
                  <a:pt x="1844" y="1614"/>
                </a:lnTo>
                <a:lnTo>
                  <a:pt x="1843" y="1626"/>
                </a:lnTo>
                <a:lnTo>
                  <a:pt x="1843" y="1637"/>
                </a:lnTo>
                <a:lnTo>
                  <a:pt x="1841" y="1649"/>
                </a:lnTo>
                <a:lnTo>
                  <a:pt x="1839" y="1660"/>
                </a:lnTo>
                <a:lnTo>
                  <a:pt x="1837" y="1671"/>
                </a:lnTo>
                <a:lnTo>
                  <a:pt x="1833" y="1682"/>
                </a:lnTo>
                <a:lnTo>
                  <a:pt x="1830" y="1693"/>
                </a:lnTo>
                <a:lnTo>
                  <a:pt x="1826" y="1703"/>
                </a:lnTo>
                <a:lnTo>
                  <a:pt x="1821" y="1713"/>
                </a:lnTo>
                <a:lnTo>
                  <a:pt x="1816" y="1723"/>
                </a:lnTo>
                <a:lnTo>
                  <a:pt x="1811" y="1733"/>
                </a:lnTo>
                <a:lnTo>
                  <a:pt x="1805" y="1742"/>
                </a:lnTo>
                <a:lnTo>
                  <a:pt x="1798" y="1751"/>
                </a:lnTo>
                <a:lnTo>
                  <a:pt x="1791" y="1760"/>
                </a:lnTo>
                <a:lnTo>
                  <a:pt x="1784" y="1768"/>
                </a:lnTo>
                <a:lnTo>
                  <a:pt x="1777" y="1776"/>
                </a:lnTo>
                <a:lnTo>
                  <a:pt x="1769" y="1784"/>
                </a:lnTo>
                <a:lnTo>
                  <a:pt x="1760" y="1791"/>
                </a:lnTo>
                <a:lnTo>
                  <a:pt x="1752" y="1798"/>
                </a:lnTo>
                <a:lnTo>
                  <a:pt x="1743" y="1804"/>
                </a:lnTo>
                <a:lnTo>
                  <a:pt x="1733" y="1810"/>
                </a:lnTo>
                <a:lnTo>
                  <a:pt x="1724" y="1815"/>
                </a:lnTo>
                <a:lnTo>
                  <a:pt x="1714" y="1821"/>
                </a:lnTo>
                <a:lnTo>
                  <a:pt x="1704" y="1825"/>
                </a:lnTo>
                <a:lnTo>
                  <a:pt x="1693" y="1829"/>
                </a:lnTo>
                <a:lnTo>
                  <a:pt x="1682" y="1833"/>
                </a:lnTo>
                <a:lnTo>
                  <a:pt x="1671" y="1836"/>
                </a:lnTo>
                <a:lnTo>
                  <a:pt x="1660" y="1838"/>
                </a:lnTo>
                <a:lnTo>
                  <a:pt x="1648" y="1840"/>
                </a:lnTo>
                <a:lnTo>
                  <a:pt x="1637" y="1842"/>
                </a:lnTo>
                <a:lnTo>
                  <a:pt x="1625" y="1843"/>
                </a:lnTo>
                <a:lnTo>
                  <a:pt x="1613" y="1843"/>
                </a:lnTo>
                <a:lnTo>
                  <a:pt x="921" y="1843"/>
                </a:lnTo>
                <a:lnTo>
                  <a:pt x="230" y="1843"/>
                </a:lnTo>
                <a:lnTo>
                  <a:pt x="218" y="1843"/>
                </a:lnTo>
                <a:lnTo>
                  <a:pt x="207" y="1842"/>
                </a:lnTo>
                <a:lnTo>
                  <a:pt x="195" y="1840"/>
                </a:lnTo>
                <a:lnTo>
                  <a:pt x="184" y="1838"/>
                </a:lnTo>
                <a:lnTo>
                  <a:pt x="172" y="1836"/>
                </a:lnTo>
                <a:lnTo>
                  <a:pt x="161" y="1833"/>
                </a:lnTo>
                <a:lnTo>
                  <a:pt x="150" y="1829"/>
                </a:lnTo>
                <a:lnTo>
                  <a:pt x="140" y="1825"/>
                </a:lnTo>
                <a:lnTo>
                  <a:pt x="130" y="1821"/>
                </a:lnTo>
                <a:lnTo>
                  <a:pt x="120" y="1815"/>
                </a:lnTo>
                <a:lnTo>
                  <a:pt x="110" y="1810"/>
                </a:lnTo>
                <a:lnTo>
                  <a:pt x="101" y="1804"/>
                </a:lnTo>
                <a:lnTo>
                  <a:pt x="92" y="1798"/>
                </a:lnTo>
                <a:lnTo>
                  <a:pt x="83" y="1791"/>
                </a:lnTo>
                <a:lnTo>
                  <a:pt x="75" y="1784"/>
                </a:lnTo>
                <a:lnTo>
                  <a:pt x="67" y="1776"/>
                </a:lnTo>
                <a:lnTo>
                  <a:pt x="59" y="1768"/>
                </a:lnTo>
                <a:lnTo>
                  <a:pt x="52" y="1760"/>
                </a:lnTo>
                <a:lnTo>
                  <a:pt x="45" y="1751"/>
                </a:lnTo>
                <a:lnTo>
                  <a:pt x="39" y="1742"/>
                </a:lnTo>
                <a:lnTo>
                  <a:pt x="33" y="1733"/>
                </a:lnTo>
                <a:lnTo>
                  <a:pt x="27" y="1723"/>
                </a:lnTo>
                <a:lnTo>
                  <a:pt x="22" y="1713"/>
                </a:lnTo>
                <a:lnTo>
                  <a:pt x="18" y="1703"/>
                </a:lnTo>
                <a:lnTo>
                  <a:pt x="14" y="1693"/>
                </a:lnTo>
                <a:lnTo>
                  <a:pt x="10" y="1682"/>
                </a:lnTo>
                <a:lnTo>
                  <a:pt x="7" y="1671"/>
                </a:lnTo>
                <a:lnTo>
                  <a:pt x="4" y="1660"/>
                </a:lnTo>
                <a:lnTo>
                  <a:pt x="2" y="1649"/>
                </a:lnTo>
                <a:lnTo>
                  <a:pt x="1" y="1637"/>
                </a:lnTo>
                <a:lnTo>
                  <a:pt x="0" y="1626"/>
                </a:lnTo>
                <a:lnTo>
                  <a:pt x="0" y="1614"/>
                </a:lnTo>
                <a:lnTo>
                  <a:pt x="0" y="921"/>
                </a:lnTo>
                <a:lnTo>
                  <a:pt x="0" y="229"/>
                </a:lnTo>
                <a:lnTo>
                  <a:pt x="0" y="218"/>
                </a:lnTo>
                <a:lnTo>
                  <a:pt x="1" y="206"/>
                </a:lnTo>
                <a:lnTo>
                  <a:pt x="2" y="194"/>
                </a:lnTo>
                <a:lnTo>
                  <a:pt x="4" y="183"/>
                </a:lnTo>
                <a:lnTo>
                  <a:pt x="7" y="172"/>
                </a:lnTo>
                <a:lnTo>
                  <a:pt x="10" y="161"/>
                </a:lnTo>
                <a:lnTo>
                  <a:pt x="14" y="151"/>
                </a:lnTo>
                <a:lnTo>
                  <a:pt x="18" y="140"/>
                </a:lnTo>
                <a:lnTo>
                  <a:pt x="22" y="130"/>
                </a:lnTo>
                <a:lnTo>
                  <a:pt x="27" y="120"/>
                </a:lnTo>
                <a:lnTo>
                  <a:pt x="33" y="110"/>
                </a:lnTo>
                <a:lnTo>
                  <a:pt x="39" y="101"/>
                </a:lnTo>
                <a:lnTo>
                  <a:pt x="45" y="92"/>
                </a:lnTo>
                <a:lnTo>
                  <a:pt x="52" y="83"/>
                </a:lnTo>
                <a:lnTo>
                  <a:pt x="59" y="75"/>
                </a:lnTo>
                <a:lnTo>
                  <a:pt x="67" y="67"/>
                </a:lnTo>
                <a:lnTo>
                  <a:pt x="75" y="60"/>
                </a:lnTo>
                <a:lnTo>
                  <a:pt x="83" y="52"/>
                </a:lnTo>
                <a:lnTo>
                  <a:pt x="92" y="46"/>
                </a:lnTo>
                <a:lnTo>
                  <a:pt x="101" y="39"/>
                </a:lnTo>
                <a:lnTo>
                  <a:pt x="110" y="33"/>
                </a:lnTo>
                <a:lnTo>
                  <a:pt x="120" y="28"/>
                </a:lnTo>
                <a:lnTo>
                  <a:pt x="130" y="23"/>
                </a:lnTo>
                <a:lnTo>
                  <a:pt x="140" y="18"/>
                </a:lnTo>
                <a:lnTo>
                  <a:pt x="150" y="14"/>
                </a:lnTo>
                <a:lnTo>
                  <a:pt x="161" y="10"/>
                </a:lnTo>
                <a:lnTo>
                  <a:pt x="172" y="7"/>
                </a:lnTo>
                <a:lnTo>
                  <a:pt x="184" y="5"/>
                </a:lnTo>
                <a:lnTo>
                  <a:pt x="195" y="3"/>
                </a:lnTo>
                <a:lnTo>
                  <a:pt x="207" y="1"/>
                </a:lnTo>
                <a:lnTo>
                  <a:pt x="218" y="0"/>
                </a:lnTo>
                <a:lnTo>
                  <a:pt x="230" y="0"/>
                </a:lnTo>
                <a:close/>
                <a:moveTo>
                  <a:pt x="230" y="96"/>
                </a:moveTo>
                <a:lnTo>
                  <a:pt x="216" y="97"/>
                </a:lnTo>
                <a:lnTo>
                  <a:pt x="203" y="99"/>
                </a:lnTo>
                <a:lnTo>
                  <a:pt x="190" y="102"/>
                </a:lnTo>
                <a:lnTo>
                  <a:pt x="184" y="104"/>
                </a:lnTo>
                <a:lnTo>
                  <a:pt x="178" y="106"/>
                </a:lnTo>
                <a:lnTo>
                  <a:pt x="165" y="112"/>
                </a:lnTo>
                <a:lnTo>
                  <a:pt x="160" y="115"/>
                </a:lnTo>
                <a:lnTo>
                  <a:pt x="154" y="119"/>
                </a:lnTo>
                <a:lnTo>
                  <a:pt x="144" y="126"/>
                </a:lnTo>
                <a:lnTo>
                  <a:pt x="135" y="135"/>
                </a:lnTo>
                <a:lnTo>
                  <a:pt x="130" y="140"/>
                </a:lnTo>
                <a:lnTo>
                  <a:pt x="126" y="145"/>
                </a:lnTo>
                <a:lnTo>
                  <a:pt x="118" y="155"/>
                </a:lnTo>
                <a:lnTo>
                  <a:pt x="115" y="160"/>
                </a:lnTo>
                <a:lnTo>
                  <a:pt x="112" y="166"/>
                </a:lnTo>
                <a:lnTo>
                  <a:pt x="109" y="172"/>
                </a:lnTo>
                <a:lnTo>
                  <a:pt x="106" y="177"/>
                </a:lnTo>
                <a:lnTo>
                  <a:pt x="104" y="184"/>
                </a:lnTo>
                <a:lnTo>
                  <a:pt x="102" y="190"/>
                </a:lnTo>
                <a:lnTo>
                  <a:pt x="100" y="196"/>
                </a:lnTo>
                <a:lnTo>
                  <a:pt x="98" y="203"/>
                </a:lnTo>
                <a:lnTo>
                  <a:pt x="97" y="209"/>
                </a:lnTo>
                <a:lnTo>
                  <a:pt x="96" y="216"/>
                </a:lnTo>
                <a:lnTo>
                  <a:pt x="96" y="223"/>
                </a:lnTo>
                <a:lnTo>
                  <a:pt x="96" y="229"/>
                </a:lnTo>
                <a:lnTo>
                  <a:pt x="96" y="921"/>
                </a:lnTo>
                <a:lnTo>
                  <a:pt x="96" y="1614"/>
                </a:lnTo>
                <a:lnTo>
                  <a:pt x="96" y="1627"/>
                </a:lnTo>
                <a:lnTo>
                  <a:pt x="98" y="1641"/>
                </a:lnTo>
                <a:lnTo>
                  <a:pt x="102" y="1653"/>
                </a:lnTo>
                <a:lnTo>
                  <a:pt x="104" y="1660"/>
                </a:lnTo>
                <a:lnTo>
                  <a:pt x="106" y="1666"/>
                </a:lnTo>
                <a:lnTo>
                  <a:pt x="112" y="1677"/>
                </a:lnTo>
                <a:lnTo>
                  <a:pt x="115" y="1683"/>
                </a:lnTo>
                <a:lnTo>
                  <a:pt x="118" y="1688"/>
                </a:lnTo>
                <a:lnTo>
                  <a:pt x="126" y="1699"/>
                </a:lnTo>
                <a:lnTo>
                  <a:pt x="135" y="1708"/>
                </a:lnTo>
                <a:lnTo>
                  <a:pt x="139" y="1712"/>
                </a:lnTo>
                <a:lnTo>
                  <a:pt x="144" y="1717"/>
                </a:lnTo>
                <a:lnTo>
                  <a:pt x="154" y="1724"/>
                </a:lnTo>
                <a:lnTo>
                  <a:pt x="160" y="1728"/>
                </a:lnTo>
                <a:lnTo>
                  <a:pt x="165" y="1731"/>
                </a:lnTo>
                <a:lnTo>
                  <a:pt x="171" y="1734"/>
                </a:lnTo>
                <a:lnTo>
                  <a:pt x="178" y="1737"/>
                </a:lnTo>
                <a:lnTo>
                  <a:pt x="184" y="1739"/>
                </a:lnTo>
                <a:lnTo>
                  <a:pt x="190" y="1741"/>
                </a:lnTo>
                <a:lnTo>
                  <a:pt x="197" y="1743"/>
                </a:lnTo>
                <a:lnTo>
                  <a:pt x="203" y="1744"/>
                </a:lnTo>
                <a:lnTo>
                  <a:pt x="210" y="1746"/>
                </a:lnTo>
                <a:lnTo>
                  <a:pt x="216" y="1746"/>
                </a:lnTo>
                <a:lnTo>
                  <a:pt x="230" y="1747"/>
                </a:lnTo>
                <a:lnTo>
                  <a:pt x="921" y="1747"/>
                </a:lnTo>
                <a:lnTo>
                  <a:pt x="1613" y="1747"/>
                </a:lnTo>
                <a:lnTo>
                  <a:pt x="1627" y="1746"/>
                </a:lnTo>
                <a:lnTo>
                  <a:pt x="1640" y="1744"/>
                </a:lnTo>
                <a:lnTo>
                  <a:pt x="1653" y="1741"/>
                </a:lnTo>
                <a:lnTo>
                  <a:pt x="1659" y="1739"/>
                </a:lnTo>
                <a:lnTo>
                  <a:pt x="1665" y="1737"/>
                </a:lnTo>
                <a:lnTo>
                  <a:pt x="1677" y="1731"/>
                </a:lnTo>
                <a:lnTo>
                  <a:pt x="1683" y="1728"/>
                </a:lnTo>
                <a:lnTo>
                  <a:pt x="1689" y="1724"/>
                </a:lnTo>
                <a:lnTo>
                  <a:pt x="1699" y="1717"/>
                </a:lnTo>
                <a:lnTo>
                  <a:pt x="1709" y="1708"/>
                </a:lnTo>
                <a:lnTo>
                  <a:pt x="1713" y="1703"/>
                </a:lnTo>
                <a:lnTo>
                  <a:pt x="1717" y="1699"/>
                </a:lnTo>
                <a:lnTo>
                  <a:pt x="1725" y="1688"/>
                </a:lnTo>
                <a:lnTo>
                  <a:pt x="1728" y="1683"/>
                </a:lnTo>
                <a:lnTo>
                  <a:pt x="1732" y="1677"/>
                </a:lnTo>
                <a:lnTo>
                  <a:pt x="1735" y="1672"/>
                </a:lnTo>
                <a:lnTo>
                  <a:pt x="1737" y="1666"/>
                </a:lnTo>
                <a:lnTo>
                  <a:pt x="1740" y="1660"/>
                </a:lnTo>
                <a:lnTo>
                  <a:pt x="1742" y="1653"/>
                </a:lnTo>
                <a:lnTo>
                  <a:pt x="1744" y="1647"/>
                </a:lnTo>
                <a:lnTo>
                  <a:pt x="1745" y="1641"/>
                </a:lnTo>
                <a:lnTo>
                  <a:pt x="1746" y="1634"/>
                </a:lnTo>
                <a:lnTo>
                  <a:pt x="1747" y="1627"/>
                </a:lnTo>
                <a:lnTo>
                  <a:pt x="1748" y="1621"/>
                </a:lnTo>
                <a:lnTo>
                  <a:pt x="1748" y="1614"/>
                </a:lnTo>
                <a:lnTo>
                  <a:pt x="1748" y="921"/>
                </a:lnTo>
                <a:lnTo>
                  <a:pt x="1748" y="229"/>
                </a:lnTo>
                <a:lnTo>
                  <a:pt x="1747" y="216"/>
                </a:lnTo>
                <a:lnTo>
                  <a:pt x="1745" y="203"/>
                </a:lnTo>
                <a:lnTo>
                  <a:pt x="1742" y="190"/>
                </a:lnTo>
                <a:lnTo>
                  <a:pt x="1740" y="184"/>
                </a:lnTo>
                <a:lnTo>
                  <a:pt x="1737" y="177"/>
                </a:lnTo>
                <a:lnTo>
                  <a:pt x="1732" y="166"/>
                </a:lnTo>
                <a:lnTo>
                  <a:pt x="1728" y="160"/>
                </a:lnTo>
                <a:lnTo>
                  <a:pt x="1725" y="155"/>
                </a:lnTo>
                <a:lnTo>
                  <a:pt x="1717" y="145"/>
                </a:lnTo>
                <a:lnTo>
                  <a:pt x="1709" y="135"/>
                </a:lnTo>
                <a:lnTo>
                  <a:pt x="1704" y="131"/>
                </a:lnTo>
                <a:lnTo>
                  <a:pt x="1699" y="126"/>
                </a:lnTo>
                <a:lnTo>
                  <a:pt x="1689" y="119"/>
                </a:lnTo>
                <a:lnTo>
                  <a:pt x="1683" y="115"/>
                </a:lnTo>
                <a:lnTo>
                  <a:pt x="1677" y="112"/>
                </a:lnTo>
                <a:lnTo>
                  <a:pt x="1671" y="109"/>
                </a:lnTo>
                <a:lnTo>
                  <a:pt x="1665" y="106"/>
                </a:lnTo>
                <a:lnTo>
                  <a:pt x="1659" y="104"/>
                </a:lnTo>
                <a:lnTo>
                  <a:pt x="1653" y="102"/>
                </a:lnTo>
                <a:lnTo>
                  <a:pt x="1647" y="100"/>
                </a:lnTo>
                <a:lnTo>
                  <a:pt x="1640" y="99"/>
                </a:lnTo>
                <a:lnTo>
                  <a:pt x="1634" y="98"/>
                </a:lnTo>
                <a:lnTo>
                  <a:pt x="1627" y="97"/>
                </a:lnTo>
                <a:lnTo>
                  <a:pt x="1613" y="96"/>
                </a:lnTo>
                <a:lnTo>
                  <a:pt x="921" y="96"/>
                </a:lnTo>
                <a:lnTo>
                  <a:pt x="230" y="96"/>
                </a:lnTo>
                <a:close/>
                <a:moveTo>
                  <a:pt x="1382" y="529"/>
                </a:moveTo>
                <a:lnTo>
                  <a:pt x="1387" y="529"/>
                </a:lnTo>
                <a:lnTo>
                  <a:pt x="1391" y="530"/>
                </a:lnTo>
                <a:lnTo>
                  <a:pt x="1396" y="531"/>
                </a:lnTo>
                <a:lnTo>
                  <a:pt x="1400" y="532"/>
                </a:lnTo>
                <a:lnTo>
                  <a:pt x="1403" y="534"/>
                </a:lnTo>
                <a:lnTo>
                  <a:pt x="1407" y="537"/>
                </a:lnTo>
                <a:lnTo>
                  <a:pt x="1411" y="539"/>
                </a:lnTo>
                <a:lnTo>
                  <a:pt x="1414" y="542"/>
                </a:lnTo>
                <a:lnTo>
                  <a:pt x="1417" y="545"/>
                </a:lnTo>
                <a:lnTo>
                  <a:pt x="1419" y="549"/>
                </a:lnTo>
                <a:lnTo>
                  <a:pt x="1421" y="552"/>
                </a:lnTo>
                <a:lnTo>
                  <a:pt x="1423" y="556"/>
                </a:lnTo>
                <a:lnTo>
                  <a:pt x="1425" y="565"/>
                </a:lnTo>
                <a:lnTo>
                  <a:pt x="1426" y="569"/>
                </a:lnTo>
                <a:lnTo>
                  <a:pt x="1426" y="574"/>
                </a:lnTo>
                <a:lnTo>
                  <a:pt x="1426" y="1270"/>
                </a:lnTo>
                <a:lnTo>
                  <a:pt x="1426" y="1274"/>
                </a:lnTo>
                <a:lnTo>
                  <a:pt x="1425" y="1278"/>
                </a:lnTo>
                <a:lnTo>
                  <a:pt x="1424" y="1283"/>
                </a:lnTo>
                <a:lnTo>
                  <a:pt x="1422" y="1287"/>
                </a:lnTo>
                <a:lnTo>
                  <a:pt x="1420" y="1291"/>
                </a:lnTo>
                <a:lnTo>
                  <a:pt x="1418" y="1294"/>
                </a:lnTo>
                <a:lnTo>
                  <a:pt x="1416" y="1298"/>
                </a:lnTo>
                <a:lnTo>
                  <a:pt x="1413" y="1301"/>
                </a:lnTo>
                <a:lnTo>
                  <a:pt x="1406" y="1306"/>
                </a:lnTo>
                <a:lnTo>
                  <a:pt x="1399" y="1311"/>
                </a:lnTo>
                <a:lnTo>
                  <a:pt x="1394" y="1312"/>
                </a:lnTo>
                <a:lnTo>
                  <a:pt x="1390" y="1313"/>
                </a:lnTo>
                <a:lnTo>
                  <a:pt x="1386" y="1314"/>
                </a:lnTo>
                <a:lnTo>
                  <a:pt x="1381" y="1314"/>
                </a:lnTo>
                <a:lnTo>
                  <a:pt x="921" y="1314"/>
                </a:lnTo>
                <a:lnTo>
                  <a:pt x="462" y="1314"/>
                </a:lnTo>
                <a:lnTo>
                  <a:pt x="458" y="1314"/>
                </a:lnTo>
                <a:lnTo>
                  <a:pt x="453" y="1313"/>
                </a:lnTo>
                <a:lnTo>
                  <a:pt x="449" y="1312"/>
                </a:lnTo>
                <a:lnTo>
                  <a:pt x="445" y="1311"/>
                </a:lnTo>
                <a:lnTo>
                  <a:pt x="441" y="1309"/>
                </a:lnTo>
                <a:lnTo>
                  <a:pt x="437" y="1306"/>
                </a:lnTo>
                <a:lnTo>
                  <a:pt x="434" y="1304"/>
                </a:lnTo>
                <a:lnTo>
                  <a:pt x="431" y="1301"/>
                </a:lnTo>
                <a:lnTo>
                  <a:pt x="425" y="1294"/>
                </a:lnTo>
                <a:lnTo>
                  <a:pt x="421" y="1287"/>
                </a:lnTo>
                <a:lnTo>
                  <a:pt x="420" y="1283"/>
                </a:lnTo>
                <a:lnTo>
                  <a:pt x="418" y="1278"/>
                </a:lnTo>
                <a:lnTo>
                  <a:pt x="418" y="1274"/>
                </a:lnTo>
                <a:lnTo>
                  <a:pt x="417" y="1270"/>
                </a:lnTo>
                <a:lnTo>
                  <a:pt x="417" y="574"/>
                </a:lnTo>
                <a:lnTo>
                  <a:pt x="418" y="569"/>
                </a:lnTo>
                <a:lnTo>
                  <a:pt x="418" y="565"/>
                </a:lnTo>
                <a:lnTo>
                  <a:pt x="420" y="560"/>
                </a:lnTo>
                <a:lnTo>
                  <a:pt x="421" y="556"/>
                </a:lnTo>
                <a:lnTo>
                  <a:pt x="423" y="552"/>
                </a:lnTo>
                <a:lnTo>
                  <a:pt x="425" y="549"/>
                </a:lnTo>
                <a:lnTo>
                  <a:pt x="428" y="545"/>
                </a:lnTo>
                <a:lnTo>
                  <a:pt x="431" y="542"/>
                </a:lnTo>
                <a:lnTo>
                  <a:pt x="437" y="537"/>
                </a:lnTo>
                <a:lnTo>
                  <a:pt x="445" y="532"/>
                </a:lnTo>
                <a:lnTo>
                  <a:pt x="449" y="531"/>
                </a:lnTo>
                <a:lnTo>
                  <a:pt x="453" y="530"/>
                </a:lnTo>
                <a:lnTo>
                  <a:pt x="458" y="529"/>
                </a:lnTo>
                <a:lnTo>
                  <a:pt x="462" y="529"/>
                </a:lnTo>
                <a:lnTo>
                  <a:pt x="922" y="529"/>
                </a:lnTo>
                <a:lnTo>
                  <a:pt x="1382" y="529"/>
                </a:lnTo>
                <a:close/>
                <a:moveTo>
                  <a:pt x="1337" y="1224"/>
                </a:moveTo>
                <a:lnTo>
                  <a:pt x="1337" y="619"/>
                </a:lnTo>
                <a:lnTo>
                  <a:pt x="922" y="619"/>
                </a:lnTo>
                <a:lnTo>
                  <a:pt x="508" y="619"/>
                </a:lnTo>
                <a:lnTo>
                  <a:pt x="508" y="1224"/>
                </a:lnTo>
                <a:lnTo>
                  <a:pt x="922" y="1224"/>
                </a:lnTo>
                <a:lnTo>
                  <a:pt x="1337" y="1224"/>
                </a:lnTo>
                <a:close/>
                <a:moveTo>
                  <a:pt x="616" y="1147"/>
                </a:moveTo>
                <a:lnTo>
                  <a:pt x="611" y="1147"/>
                </a:lnTo>
                <a:lnTo>
                  <a:pt x="606" y="1146"/>
                </a:lnTo>
                <a:lnTo>
                  <a:pt x="602" y="1144"/>
                </a:lnTo>
                <a:lnTo>
                  <a:pt x="598" y="1142"/>
                </a:lnTo>
                <a:lnTo>
                  <a:pt x="594" y="1139"/>
                </a:lnTo>
                <a:lnTo>
                  <a:pt x="590" y="1136"/>
                </a:lnTo>
                <a:lnTo>
                  <a:pt x="588" y="1132"/>
                </a:lnTo>
                <a:lnTo>
                  <a:pt x="585" y="1128"/>
                </a:lnTo>
                <a:lnTo>
                  <a:pt x="584" y="1124"/>
                </a:lnTo>
                <a:lnTo>
                  <a:pt x="583" y="1120"/>
                </a:lnTo>
                <a:lnTo>
                  <a:pt x="582" y="1115"/>
                </a:lnTo>
                <a:lnTo>
                  <a:pt x="582" y="1111"/>
                </a:lnTo>
                <a:lnTo>
                  <a:pt x="583" y="1106"/>
                </a:lnTo>
                <a:lnTo>
                  <a:pt x="584" y="1102"/>
                </a:lnTo>
                <a:lnTo>
                  <a:pt x="586" y="1097"/>
                </a:lnTo>
                <a:lnTo>
                  <a:pt x="589" y="1093"/>
                </a:lnTo>
                <a:lnTo>
                  <a:pt x="719" y="921"/>
                </a:lnTo>
                <a:lnTo>
                  <a:pt x="722" y="918"/>
                </a:lnTo>
                <a:lnTo>
                  <a:pt x="725" y="915"/>
                </a:lnTo>
                <a:lnTo>
                  <a:pt x="728" y="913"/>
                </a:lnTo>
                <a:lnTo>
                  <a:pt x="731" y="911"/>
                </a:lnTo>
                <a:lnTo>
                  <a:pt x="734" y="909"/>
                </a:lnTo>
                <a:lnTo>
                  <a:pt x="738" y="908"/>
                </a:lnTo>
                <a:lnTo>
                  <a:pt x="742" y="907"/>
                </a:lnTo>
                <a:lnTo>
                  <a:pt x="746" y="907"/>
                </a:lnTo>
                <a:lnTo>
                  <a:pt x="750" y="907"/>
                </a:lnTo>
                <a:lnTo>
                  <a:pt x="754" y="908"/>
                </a:lnTo>
                <a:lnTo>
                  <a:pt x="757" y="909"/>
                </a:lnTo>
                <a:lnTo>
                  <a:pt x="761" y="911"/>
                </a:lnTo>
                <a:lnTo>
                  <a:pt x="767" y="915"/>
                </a:lnTo>
                <a:lnTo>
                  <a:pt x="770" y="918"/>
                </a:lnTo>
                <a:lnTo>
                  <a:pt x="772" y="921"/>
                </a:lnTo>
                <a:lnTo>
                  <a:pt x="829" y="997"/>
                </a:lnTo>
                <a:lnTo>
                  <a:pt x="981" y="797"/>
                </a:lnTo>
                <a:lnTo>
                  <a:pt x="983" y="794"/>
                </a:lnTo>
                <a:lnTo>
                  <a:pt x="986" y="791"/>
                </a:lnTo>
                <a:lnTo>
                  <a:pt x="989" y="789"/>
                </a:lnTo>
                <a:lnTo>
                  <a:pt x="992" y="787"/>
                </a:lnTo>
                <a:lnTo>
                  <a:pt x="996" y="785"/>
                </a:lnTo>
                <a:lnTo>
                  <a:pt x="999" y="784"/>
                </a:lnTo>
                <a:lnTo>
                  <a:pt x="1003" y="783"/>
                </a:lnTo>
                <a:lnTo>
                  <a:pt x="1007" y="783"/>
                </a:lnTo>
                <a:lnTo>
                  <a:pt x="1011" y="783"/>
                </a:lnTo>
                <a:lnTo>
                  <a:pt x="1015" y="784"/>
                </a:lnTo>
                <a:lnTo>
                  <a:pt x="1019" y="785"/>
                </a:lnTo>
                <a:lnTo>
                  <a:pt x="1022" y="787"/>
                </a:lnTo>
                <a:lnTo>
                  <a:pt x="1028" y="791"/>
                </a:lnTo>
                <a:lnTo>
                  <a:pt x="1031" y="794"/>
                </a:lnTo>
                <a:lnTo>
                  <a:pt x="1034" y="797"/>
                </a:lnTo>
                <a:lnTo>
                  <a:pt x="1257" y="1093"/>
                </a:lnTo>
                <a:lnTo>
                  <a:pt x="1259" y="1097"/>
                </a:lnTo>
                <a:lnTo>
                  <a:pt x="1261" y="1101"/>
                </a:lnTo>
                <a:lnTo>
                  <a:pt x="1263" y="1105"/>
                </a:lnTo>
                <a:lnTo>
                  <a:pt x="1263" y="1110"/>
                </a:lnTo>
                <a:lnTo>
                  <a:pt x="1263" y="1114"/>
                </a:lnTo>
                <a:lnTo>
                  <a:pt x="1263" y="1119"/>
                </a:lnTo>
                <a:lnTo>
                  <a:pt x="1262" y="1124"/>
                </a:lnTo>
                <a:lnTo>
                  <a:pt x="1260" y="1128"/>
                </a:lnTo>
                <a:lnTo>
                  <a:pt x="1257" y="1132"/>
                </a:lnTo>
                <a:lnTo>
                  <a:pt x="1254" y="1136"/>
                </a:lnTo>
                <a:lnTo>
                  <a:pt x="1251" y="1139"/>
                </a:lnTo>
                <a:lnTo>
                  <a:pt x="1247" y="1142"/>
                </a:lnTo>
                <a:lnTo>
                  <a:pt x="1243" y="1144"/>
                </a:lnTo>
                <a:lnTo>
                  <a:pt x="1239" y="1146"/>
                </a:lnTo>
                <a:lnTo>
                  <a:pt x="1234" y="1147"/>
                </a:lnTo>
                <a:lnTo>
                  <a:pt x="1229" y="1147"/>
                </a:lnTo>
                <a:lnTo>
                  <a:pt x="616" y="1147"/>
                </a:lnTo>
                <a:close/>
                <a:moveTo>
                  <a:pt x="717" y="768"/>
                </a:moveTo>
                <a:lnTo>
                  <a:pt x="718" y="761"/>
                </a:lnTo>
                <a:lnTo>
                  <a:pt x="719" y="753"/>
                </a:lnTo>
                <a:lnTo>
                  <a:pt x="720" y="747"/>
                </a:lnTo>
                <a:lnTo>
                  <a:pt x="723" y="740"/>
                </a:lnTo>
                <a:lnTo>
                  <a:pt x="726" y="734"/>
                </a:lnTo>
                <a:lnTo>
                  <a:pt x="729" y="728"/>
                </a:lnTo>
                <a:lnTo>
                  <a:pt x="734" y="722"/>
                </a:lnTo>
                <a:lnTo>
                  <a:pt x="738" y="717"/>
                </a:lnTo>
                <a:lnTo>
                  <a:pt x="743" y="712"/>
                </a:lnTo>
                <a:lnTo>
                  <a:pt x="749" y="708"/>
                </a:lnTo>
                <a:lnTo>
                  <a:pt x="755" y="705"/>
                </a:lnTo>
                <a:lnTo>
                  <a:pt x="761" y="701"/>
                </a:lnTo>
                <a:lnTo>
                  <a:pt x="768" y="699"/>
                </a:lnTo>
                <a:lnTo>
                  <a:pt x="775" y="697"/>
                </a:lnTo>
                <a:lnTo>
                  <a:pt x="782" y="696"/>
                </a:lnTo>
                <a:lnTo>
                  <a:pt x="789" y="696"/>
                </a:lnTo>
                <a:lnTo>
                  <a:pt x="797" y="696"/>
                </a:lnTo>
                <a:lnTo>
                  <a:pt x="804" y="697"/>
                </a:lnTo>
                <a:lnTo>
                  <a:pt x="811" y="699"/>
                </a:lnTo>
                <a:lnTo>
                  <a:pt x="818" y="701"/>
                </a:lnTo>
                <a:lnTo>
                  <a:pt x="824" y="705"/>
                </a:lnTo>
                <a:lnTo>
                  <a:pt x="830" y="708"/>
                </a:lnTo>
                <a:lnTo>
                  <a:pt x="835" y="712"/>
                </a:lnTo>
                <a:lnTo>
                  <a:pt x="840" y="717"/>
                </a:lnTo>
                <a:lnTo>
                  <a:pt x="845" y="722"/>
                </a:lnTo>
                <a:lnTo>
                  <a:pt x="849" y="728"/>
                </a:lnTo>
                <a:lnTo>
                  <a:pt x="853" y="734"/>
                </a:lnTo>
                <a:lnTo>
                  <a:pt x="856" y="740"/>
                </a:lnTo>
                <a:lnTo>
                  <a:pt x="858" y="747"/>
                </a:lnTo>
                <a:lnTo>
                  <a:pt x="860" y="753"/>
                </a:lnTo>
                <a:lnTo>
                  <a:pt x="861" y="761"/>
                </a:lnTo>
                <a:lnTo>
                  <a:pt x="862" y="768"/>
                </a:lnTo>
                <a:lnTo>
                  <a:pt x="861" y="775"/>
                </a:lnTo>
                <a:lnTo>
                  <a:pt x="860" y="783"/>
                </a:lnTo>
                <a:lnTo>
                  <a:pt x="858" y="790"/>
                </a:lnTo>
                <a:lnTo>
                  <a:pt x="856" y="796"/>
                </a:lnTo>
                <a:lnTo>
                  <a:pt x="853" y="802"/>
                </a:lnTo>
                <a:lnTo>
                  <a:pt x="849" y="808"/>
                </a:lnTo>
                <a:lnTo>
                  <a:pt x="845" y="814"/>
                </a:lnTo>
                <a:lnTo>
                  <a:pt x="840" y="819"/>
                </a:lnTo>
                <a:lnTo>
                  <a:pt x="835" y="824"/>
                </a:lnTo>
                <a:lnTo>
                  <a:pt x="830" y="828"/>
                </a:lnTo>
                <a:lnTo>
                  <a:pt x="824" y="832"/>
                </a:lnTo>
                <a:lnTo>
                  <a:pt x="818" y="835"/>
                </a:lnTo>
                <a:lnTo>
                  <a:pt x="811" y="837"/>
                </a:lnTo>
                <a:lnTo>
                  <a:pt x="804" y="839"/>
                </a:lnTo>
                <a:lnTo>
                  <a:pt x="797" y="840"/>
                </a:lnTo>
                <a:lnTo>
                  <a:pt x="789" y="840"/>
                </a:lnTo>
                <a:lnTo>
                  <a:pt x="782" y="840"/>
                </a:lnTo>
                <a:lnTo>
                  <a:pt x="775" y="839"/>
                </a:lnTo>
                <a:lnTo>
                  <a:pt x="768" y="837"/>
                </a:lnTo>
                <a:lnTo>
                  <a:pt x="761" y="835"/>
                </a:lnTo>
                <a:lnTo>
                  <a:pt x="755" y="832"/>
                </a:lnTo>
                <a:lnTo>
                  <a:pt x="749" y="828"/>
                </a:lnTo>
                <a:lnTo>
                  <a:pt x="743" y="824"/>
                </a:lnTo>
                <a:lnTo>
                  <a:pt x="738" y="819"/>
                </a:lnTo>
                <a:lnTo>
                  <a:pt x="734" y="814"/>
                </a:lnTo>
                <a:lnTo>
                  <a:pt x="729" y="808"/>
                </a:lnTo>
                <a:lnTo>
                  <a:pt x="726" y="802"/>
                </a:lnTo>
                <a:lnTo>
                  <a:pt x="723" y="796"/>
                </a:lnTo>
                <a:lnTo>
                  <a:pt x="720" y="790"/>
                </a:lnTo>
                <a:lnTo>
                  <a:pt x="719" y="783"/>
                </a:lnTo>
                <a:lnTo>
                  <a:pt x="718" y="775"/>
                </a:lnTo>
                <a:lnTo>
                  <a:pt x="717" y="768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B4245"/>
              </a:solidFill>
              <a:latin typeface="Arial"/>
            </a:endParaRPr>
          </a:p>
        </p:txBody>
      </p:sp>
      <p:sp>
        <p:nvSpPr>
          <p:cNvPr id="51" name="Freeform 8"/>
          <p:cNvSpPr>
            <a:spLocks noChangeAspect="1" noEditPoints="1"/>
          </p:cNvSpPr>
          <p:nvPr/>
        </p:nvSpPr>
        <p:spPr bwMode="auto">
          <a:xfrm>
            <a:off x="7970296" y="5554030"/>
            <a:ext cx="359888" cy="360083"/>
          </a:xfrm>
          <a:custGeom>
            <a:avLst/>
            <a:gdLst>
              <a:gd name="T0" fmla="*/ 1671 w 1843"/>
              <a:gd name="T1" fmla="*/ 7 h 1844"/>
              <a:gd name="T2" fmla="*/ 1751 w 1843"/>
              <a:gd name="T3" fmla="*/ 45 h 1844"/>
              <a:gd name="T4" fmla="*/ 1810 w 1843"/>
              <a:gd name="T5" fmla="*/ 110 h 1844"/>
              <a:gd name="T6" fmla="*/ 1840 w 1843"/>
              <a:gd name="T7" fmla="*/ 195 h 1844"/>
              <a:gd name="T8" fmla="*/ 1840 w 1843"/>
              <a:gd name="T9" fmla="*/ 1649 h 1844"/>
              <a:gd name="T10" fmla="*/ 1810 w 1843"/>
              <a:gd name="T11" fmla="*/ 1733 h 1844"/>
              <a:gd name="T12" fmla="*/ 1751 w 1843"/>
              <a:gd name="T13" fmla="*/ 1798 h 1844"/>
              <a:gd name="T14" fmla="*/ 1671 w 1843"/>
              <a:gd name="T15" fmla="*/ 1837 h 1844"/>
              <a:gd name="T16" fmla="*/ 217 w 1843"/>
              <a:gd name="T17" fmla="*/ 1844 h 1844"/>
              <a:gd name="T18" fmla="*/ 130 w 1843"/>
              <a:gd name="T19" fmla="*/ 1821 h 1844"/>
              <a:gd name="T20" fmla="*/ 59 w 1843"/>
              <a:gd name="T21" fmla="*/ 1769 h 1844"/>
              <a:gd name="T22" fmla="*/ 14 w 1843"/>
              <a:gd name="T23" fmla="*/ 1693 h 1844"/>
              <a:gd name="T24" fmla="*/ 0 w 1843"/>
              <a:gd name="T25" fmla="*/ 921 h 1844"/>
              <a:gd name="T26" fmla="*/ 14 w 1843"/>
              <a:gd name="T27" fmla="*/ 151 h 1844"/>
              <a:gd name="T28" fmla="*/ 59 w 1843"/>
              <a:gd name="T29" fmla="*/ 75 h 1844"/>
              <a:gd name="T30" fmla="*/ 130 w 1843"/>
              <a:gd name="T31" fmla="*/ 22 h 1844"/>
              <a:gd name="T32" fmla="*/ 217 w 1843"/>
              <a:gd name="T33" fmla="*/ 0 h 1844"/>
              <a:gd name="T34" fmla="*/ 165 w 1843"/>
              <a:gd name="T35" fmla="*/ 112 h 1844"/>
              <a:gd name="T36" fmla="*/ 115 w 1843"/>
              <a:gd name="T37" fmla="*/ 161 h 1844"/>
              <a:gd name="T38" fmla="*/ 97 w 1843"/>
              <a:gd name="T39" fmla="*/ 210 h 1844"/>
              <a:gd name="T40" fmla="*/ 102 w 1843"/>
              <a:gd name="T41" fmla="*/ 1654 h 1844"/>
              <a:gd name="T42" fmla="*/ 139 w 1843"/>
              <a:gd name="T43" fmla="*/ 1713 h 1844"/>
              <a:gd name="T44" fmla="*/ 189 w 1843"/>
              <a:gd name="T45" fmla="*/ 1742 h 1844"/>
              <a:gd name="T46" fmla="*/ 1627 w 1843"/>
              <a:gd name="T47" fmla="*/ 1747 h 1844"/>
              <a:gd name="T48" fmla="*/ 1698 w 1843"/>
              <a:gd name="T49" fmla="*/ 1717 h 1844"/>
              <a:gd name="T50" fmla="*/ 1736 w 1843"/>
              <a:gd name="T51" fmla="*/ 1666 h 1844"/>
              <a:gd name="T52" fmla="*/ 1747 w 1843"/>
              <a:gd name="T53" fmla="*/ 1613 h 1844"/>
              <a:gd name="T54" fmla="*/ 1731 w 1843"/>
              <a:gd name="T55" fmla="*/ 167 h 1844"/>
              <a:gd name="T56" fmla="*/ 1683 w 1843"/>
              <a:gd name="T57" fmla="*/ 115 h 1844"/>
              <a:gd name="T58" fmla="*/ 1634 w 1843"/>
              <a:gd name="T59" fmla="*/ 97 h 1844"/>
              <a:gd name="T60" fmla="*/ 1260 w 1843"/>
              <a:gd name="T61" fmla="*/ 857 h 1844"/>
              <a:gd name="T62" fmla="*/ 1160 w 1843"/>
              <a:gd name="T63" fmla="*/ 792 h 1844"/>
              <a:gd name="T64" fmla="*/ 1024 w 1843"/>
              <a:gd name="T65" fmla="*/ 747 h 1844"/>
              <a:gd name="T66" fmla="*/ 897 w 1843"/>
              <a:gd name="T67" fmla="*/ 738 h 1844"/>
              <a:gd name="T68" fmla="*/ 734 w 1843"/>
              <a:gd name="T69" fmla="*/ 772 h 1844"/>
              <a:gd name="T70" fmla="*/ 596 w 1843"/>
              <a:gd name="T71" fmla="*/ 848 h 1844"/>
              <a:gd name="T72" fmla="*/ 481 w 1843"/>
              <a:gd name="T73" fmla="*/ 755 h 1844"/>
              <a:gd name="T74" fmla="*/ 622 w 1843"/>
              <a:gd name="T75" fmla="*/ 662 h 1844"/>
              <a:gd name="T76" fmla="*/ 745 w 1843"/>
              <a:gd name="T77" fmla="*/ 615 h 1844"/>
              <a:gd name="T78" fmla="*/ 923 w 1843"/>
              <a:gd name="T79" fmla="*/ 592 h 1844"/>
              <a:gd name="T80" fmla="*/ 1084 w 1843"/>
              <a:gd name="T81" fmla="*/ 611 h 1844"/>
              <a:gd name="T82" fmla="*/ 1224 w 1843"/>
              <a:gd name="T83" fmla="*/ 662 h 1844"/>
              <a:gd name="T84" fmla="*/ 1352 w 1843"/>
              <a:gd name="T85" fmla="*/ 744 h 1844"/>
              <a:gd name="T86" fmla="*/ 796 w 1843"/>
              <a:gd name="T87" fmla="*/ 1133 h 1844"/>
              <a:gd name="T88" fmla="*/ 865 w 1843"/>
              <a:gd name="T89" fmla="*/ 1096 h 1844"/>
              <a:gd name="T90" fmla="*/ 951 w 1843"/>
              <a:gd name="T91" fmla="*/ 1090 h 1844"/>
              <a:gd name="T92" fmla="*/ 1033 w 1843"/>
              <a:gd name="T93" fmla="*/ 1121 h 1844"/>
              <a:gd name="T94" fmla="*/ 948 w 1843"/>
              <a:gd name="T95" fmla="*/ 1240 h 1844"/>
              <a:gd name="T96" fmla="*/ 907 w 1843"/>
              <a:gd name="T97" fmla="*/ 1236 h 1844"/>
              <a:gd name="T98" fmla="*/ 1114 w 1843"/>
              <a:gd name="T99" fmla="*/ 1060 h 1844"/>
              <a:gd name="T100" fmla="*/ 1029 w 1843"/>
              <a:gd name="T101" fmla="*/ 1008 h 1844"/>
              <a:gd name="T102" fmla="*/ 923 w 1843"/>
              <a:gd name="T103" fmla="*/ 987 h 1844"/>
              <a:gd name="T104" fmla="*/ 829 w 1843"/>
              <a:gd name="T105" fmla="*/ 1003 h 1844"/>
              <a:gd name="T106" fmla="*/ 732 w 1843"/>
              <a:gd name="T107" fmla="*/ 1060 h 1844"/>
              <a:gd name="T108" fmla="*/ 705 w 1843"/>
              <a:gd name="T109" fmla="*/ 901 h 1844"/>
              <a:gd name="T110" fmla="*/ 821 w 1843"/>
              <a:gd name="T111" fmla="*/ 854 h 1844"/>
              <a:gd name="T112" fmla="*/ 984 w 1843"/>
              <a:gd name="T113" fmla="*/ 846 h 1844"/>
              <a:gd name="T114" fmla="*/ 1123 w 1843"/>
              <a:gd name="T115" fmla="*/ 891 h 1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843" h="1844">
                <a:moveTo>
                  <a:pt x="229" y="0"/>
                </a:moveTo>
                <a:lnTo>
                  <a:pt x="920" y="0"/>
                </a:lnTo>
                <a:lnTo>
                  <a:pt x="1613" y="0"/>
                </a:lnTo>
                <a:lnTo>
                  <a:pt x="1625" y="0"/>
                </a:lnTo>
                <a:lnTo>
                  <a:pt x="1637" y="1"/>
                </a:lnTo>
                <a:lnTo>
                  <a:pt x="1648" y="2"/>
                </a:lnTo>
                <a:lnTo>
                  <a:pt x="1660" y="4"/>
                </a:lnTo>
                <a:lnTo>
                  <a:pt x="1671" y="7"/>
                </a:lnTo>
                <a:lnTo>
                  <a:pt x="1682" y="10"/>
                </a:lnTo>
                <a:lnTo>
                  <a:pt x="1692" y="14"/>
                </a:lnTo>
                <a:lnTo>
                  <a:pt x="1703" y="18"/>
                </a:lnTo>
                <a:lnTo>
                  <a:pt x="1713" y="22"/>
                </a:lnTo>
                <a:lnTo>
                  <a:pt x="1723" y="27"/>
                </a:lnTo>
                <a:lnTo>
                  <a:pt x="1732" y="33"/>
                </a:lnTo>
                <a:lnTo>
                  <a:pt x="1742" y="39"/>
                </a:lnTo>
                <a:lnTo>
                  <a:pt x="1751" y="45"/>
                </a:lnTo>
                <a:lnTo>
                  <a:pt x="1759" y="52"/>
                </a:lnTo>
                <a:lnTo>
                  <a:pt x="1768" y="59"/>
                </a:lnTo>
                <a:lnTo>
                  <a:pt x="1776" y="67"/>
                </a:lnTo>
                <a:lnTo>
                  <a:pt x="1783" y="75"/>
                </a:lnTo>
                <a:lnTo>
                  <a:pt x="1790" y="83"/>
                </a:lnTo>
                <a:lnTo>
                  <a:pt x="1797" y="92"/>
                </a:lnTo>
                <a:lnTo>
                  <a:pt x="1804" y="101"/>
                </a:lnTo>
                <a:lnTo>
                  <a:pt x="1810" y="110"/>
                </a:lnTo>
                <a:lnTo>
                  <a:pt x="1815" y="120"/>
                </a:lnTo>
                <a:lnTo>
                  <a:pt x="1820" y="131"/>
                </a:lnTo>
                <a:lnTo>
                  <a:pt x="1825" y="141"/>
                </a:lnTo>
                <a:lnTo>
                  <a:pt x="1829" y="151"/>
                </a:lnTo>
                <a:lnTo>
                  <a:pt x="1832" y="162"/>
                </a:lnTo>
                <a:lnTo>
                  <a:pt x="1836" y="173"/>
                </a:lnTo>
                <a:lnTo>
                  <a:pt x="1838" y="184"/>
                </a:lnTo>
                <a:lnTo>
                  <a:pt x="1840" y="195"/>
                </a:lnTo>
                <a:lnTo>
                  <a:pt x="1842" y="207"/>
                </a:lnTo>
                <a:lnTo>
                  <a:pt x="1842" y="218"/>
                </a:lnTo>
                <a:lnTo>
                  <a:pt x="1843" y="230"/>
                </a:lnTo>
                <a:lnTo>
                  <a:pt x="1843" y="921"/>
                </a:lnTo>
                <a:lnTo>
                  <a:pt x="1843" y="1613"/>
                </a:lnTo>
                <a:lnTo>
                  <a:pt x="1842" y="1625"/>
                </a:lnTo>
                <a:lnTo>
                  <a:pt x="1842" y="1638"/>
                </a:lnTo>
                <a:lnTo>
                  <a:pt x="1840" y="1649"/>
                </a:lnTo>
                <a:lnTo>
                  <a:pt x="1838" y="1661"/>
                </a:lnTo>
                <a:lnTo>
                  <a:pt x="1836" y="1672"/>
                </a:lnTo>
                <a:lnTo>
                  <a:pt x="1832" y="1683"/>
                </a:lnTo>
                <a:lnTo>
                  <a:pt x="1829" y="1693"/>
                </a:lnTo>
                <a:lnTo>
                  <a:pt x="1825" y="1704"/>
                </a:lnTo>
                <a:lnTo>
                  <a:pt x="1820" y="1714"/>
                </a:lnTo>
                <a:lnTo>
                  <a:pt x="1815" y="1724"/>
                </a:lnTo>
                <a:lnTo>
                  <a:pt x="1810" y="1733"/>
                </a:lnTo>
                <a:lnTo>
                  <a:pt x="1804" y="1743"/>
                </a:lnTo>
                <a:lnTo>
                  <a:pt x="1797" y="1752"/>
                </a:lnTo>
                <a:lnTo>
                  <a:pt x="1790" y="1760"/>
                </a:lnTo>
                <a:lnTo>
                  <a:pt x="1783" y="1769"/>
                </a:lnTo>
                <a:lnTo>
                  <a:pt x="1776" y="1777"/>
                </a:lnTo>
                <a:lnTo>
                  <a:pt x="1768" y="1784"/>
                </a:lnTo>
                <a:lnTo>
                  <a:pt x="1759" y="1791"/>
                </a:lnTo>
                <a:lnTo>
                  <a:pt x="1751" y="1798"/>
                </a:lnTo>
                <a:lnTo>
                  <a:pt x="1742" y="1805"/>
                </a:lnTo>
                <a:lnTo>
                  <a:pt x="1732" y="1811"/>
                </a:lnTo>
                <a:lnTo>
                  <a:pt x="1723" y="1816"/>
                </a:lnTo>
                <a:lnTo>
                  <a:pt x="1713" y="1821"/>
                </a:lnTo>
                <a:lnTo>
                  <a:pt x="1703" y="1826"/>
                </a:lnTo>
                <a:lnTo>
                  <a:pt x="1692" y="1830"/>
                </a:lnTo>
                <a:lnTo>
                  <a:pt x="1682" y="1834"/>
                </a:lnTo>
                <a:lnTo>
                  <a:pt x="1671" y="1837"/>
                </a:lnTo>
                <a:lnTo>
                  <a:pt x="1660" y="1839"/>
                </a:lnTo>
                <a:lnTo>
                  <a:pt x="1648" y="1841"/>
                </a:lnTo>
                <a:lnTo>
                  <a:pt x="1637" y="1843"/>
                </a:lnTo>
                <a:lnTo>
                  <a:pt x="1625" y="1844"/>
                </a:lnTo>
                <a:lnTo>
                  <a:pt x="1613" y="1844"/>
                </a:lnTo>
                <a:lnTo>
                  <a:pt x="920" y="1844"/>
                </a:lnTo>
                <a:lnTo>
                  <a:pt x="229" y="1844"/>
                </a:lnTo>
                <a:lnTo>
                  <a:pt x="217" y="1844"/>
                </a:lnTo>
                <a:lnTo>
                  <a:pt x="206" y="1843"/>
                </a:lnTo>
                <a:lnTo>
                  <a:pt x="194" y="1841"/>
                </a:lnTo>
                <a:lnTo>
                  <a:pt x="183" y="1839"/>
                </a:lnTo>
                <a:lnTo>
                  <a:pt x="172" y="1837"/>
                </a:lnTo>
                <a:lnTo>
                  <a:pt x="161" y="1834"/>
                </a:lnTo>
                <a:lnTo>
                  <a:pt x="150" y="1830"/>
                </a:lnTo>
                <a:lnTo>
                  <a:pt x="140" y="1826"/>
                </a:lnTo>
                <a:lnTo>
                  <a:pt x="130" y="1821"/>
                </a:lnTo>
                <a:lnTo>
                  <a:pt x="120" y="1816"/>
                </a:lnTo>
                <a:lnTo>
                  <a:pt x="110" y="1811"/>
                </a:lnTo>
                <a:lnTo>
                  <a:pt x="101" y="1805"/>
                </a:lnTo>
                <a:lnTo>
                  <a:pt x="92" y="1798"/>
                </a:lnTo>
                <a:lnTo>
                  <a:pt x="83" y="1791"/>
                </a:lnTo>
                <a:lnTo>
                  <a:pt x="75" y="1784"/>
                </a:lnTo>
                <a:lnTo>
                  <a:pt x="67" y="1777"/>
                </a:lnTo>
                <a:lnTo>
                  <a:pt x="59" y="1769"/>
                </a:lnTo>
                <a:lnTo>
                  <a:pt x="52" y="1760"/>
                </a:lnTo>
                <a:lnTo>
                  <a:pt x="45" y="1752"/>
                </a:lnTo>
                <a:lnTo>
                  <a:pt x="39" y="1743"/>
                </a:lnTo>
                <a:lnTo>
                  <a:pt x="33" y="1733"/>
                </a:lnTo>
                <a:lnTo>
                  <a:pt x="27" y="1724"/>
                </a:lnTo>
                <a:lnTo>
                  <a:pt x="22" y="1714"/>
                </a:lnTo>
                <a:lnTo>
                  <a:pt x="18" y="1704"/>
                </a:lnTo>
                <a:lnTo>
                  <a:pt x="14" y="1693"/>
                </a:lnTo>
                <a:lnTo>
                  <a:pt x="10" y="1683"/>
                </a:lnTo>
                <a:lnTo>
                  <a:pt x="7" y="1672"/>
                </a:lnTo>
                <a:lnTo>
                  <a:pt x="4" y="1661"/>
                </a:lnTo>
                <a:lnTo>
                  <a:pt x="2" y="1649"/>
                </a:lnTo>
                <a:lnTo>
                  <a:pt x="1" y="1638"/>
                </a:lnTo>
                <a:lnTo>
                  <a:pt x="0" y="1625"/>
                </a:lnTo>
                <a:lnTo>
                  <a:pt x="0" y="1613"/>
                </a:lnTo>
                <a:lnTo>
                  <a:pt x="0" y="921"/>
                </a:lnTo>
                <a:lnTo>
                  <a:pt x="0" y="230"/>
                </a:lnTo>
                <a:lnTo>
                  <a:pt x="0" y="218"/>
                </a:lnTo>
                <a:lnTo>
                  <a:pt x="1" y="207"/>
                </a:lnTo>
                <a:lnTo>
                  <a:pt x="2" y="195"/>
                </a:lnTo>
                <a:lnTo>
                  <a:pt x="4" y="184"/>
                </a:lnTo>
                <a:lnTo>
                  <a:pt x="7" y="173"/>
                </a:lnTo>
                <a:lnTo>
                  <a:pt x="10" y="162"/>
                </a:lnTo>
                <a:lnTo>
                  <a:pt x="14" y="151"/>
                </a:lnTo>
                <a:lnTo>
                  <a:pt x="18" y="141"/>
                </a:lnTo>
                <a:lnTo>
                  <a:pt x="22" y="131"/>
                </a:lnTo>
                <a:lnTo>
                  <a:pt x="27" y="120"/>
                </a:lnTo>
                <a:lnTo>
                  <a:pt x="33" y="110"/>
                </a:lnTo>
                <a:lnTo>
                  <a:pt x="39" y="101"/>
                </a:lnTo>
                <a:lnTo>
                  <a:pt x="45" y="92"/>
                </a:lnTo>
                <a:lnTo>
                  <a:pt x="52" y="83"/>
                </a:lnTo>
                <a:lnTo>
                  <a:pt x="59" y="75"/>
                </a:lnTo>
                <a:lnTo>
                  <a:pt x="67" y="67"/>
                </a:lnTo>
                <a:lnTo>
                  <a:pt x="75" y="59"/>
                </a:lnTo>
                <a:lnTo>
                  <a:pt x="83" y="52"/>
                </a:lnTo>
                <a:lnTo>
                  <a:pt x="92" y="45"/>
                </a:lnTo>
                <a:lnTo>
                  <a:pt x="101" y="39"/>
                </a:lnTo>
                <a:lnTo>
                  <a:pt x="110" y="33"/>
                </a:lnTo>
                <a:lnTo>
                  <a:pt x="120" y="27"/>
                </a:lnTo>
                <a:lnTo>
                  <a:pt x="130" y="22"/>
                </a:lnTo>
                <a:lnTo>
                  <a:pt x="140" y="18"/>
                </a:lnTo>
                <a:lnTo>
                  <a:pt x="150" y="14"/>
                </a:lnTo>
                <a:lnTo>
                  <a:pt x="161" y="10"/>
                </a:lnTo>
                <a:lnTo>
                  <a:pt x="172" y="7"/>
                </a:lnTo>
                <a:lnTo>
                  <a:pt x="183" y="4"/>
                </a:lnTo>
                <a:lnTo>
                  <a:pt x="194" y="2"/>
                </a:lnTo>
                <a:lnTo>
                  <a:pt x="206" y="1"/>
                </a:lnTo>
                <a:lnTo>
                  <a:pt x="217" y="0"/>
                </a:lnTo>
                <a:lnTo>
                  <a:pt x="229" y="0"/>
                </a:lnTo>
                <a:close/>
                <a:moveTo>
                  <a:pt x="229" y="96"/>
                </a:moveTo>
                <a:lnTo>
                  <a:pt x="215" y="96"/>
                </a:lnTo>
                <a:lnTo>
                  <a:pt x="202" y="98"/>
                </a:lnTo>
                <a:lnTo>
                  <a:pt x="189" y="102"/>
                </a:lnTo>
                <a:lnTo>
                  <a:pt x="183" y="104"/>
                </a:lnTo>
                <a:lnTo>
                  <a:pt x="177" y="106"/>
                </a:lnTo>
                <a:lnTo>
                  <a:pt x="165" y="112"/>
                </a:lnTo>
                <a:lnTo>
                  <a:pt x="160" y="115"/>
                </a:lnTo>
                <a:lnTo>
                  <a:pt x="154" y="118"/>
                </a:lnTo>
                <a:lnTo>
                  <a:pt x="144" y="127"/>
                </a:lnTo>
                <a:lnTo>
                  <a:pt x="135" y="136"/>
                </a:lnTo>
                <a:lnTo>
                  <a:pt x="130" y="140"/>
                </a:lnTo>
                <a:lnTo>
                  <a:pt x="126" y="145"/>
                </a:lnTo>
                <a:lnTo>
                  <a:pt x="118" y="156"/>
                </a:lnTo>
                <a:lnTo>
                  <a:pt x="115" y="161"/>
                </a:lnTo>
                <a:lnTo>
                  <a:pt x="112" y="167"/>
                </a:lnTo>
                <a:lnTo>
                  <a:pt x="109" y="172"/>
                </a:lnTo>
                <a:lnTo>
                  <a:pt x="106" y="178"/>
                </a:lnTo>
                <a:lnTo>
                  <a:pt x="104" y="184"/>
                </a:lnTo>
                <a:lnTo>
                  <a:pt x="102" y="190"/>
                </a:lnTo>
                <a:lnTo>
                  <a:pt x="100" y="197"/>
                </a:lnTo>
                <a:lnTo>
                  <a:pt x="98" y="203"/>
                </a:lnTo>
                <a:lnTo>
                  <a:pt x="97" y="210"/>
                </a:lnTo>
                <a:lnTo>
                  <a:pt x="96" y="216"/>
                </a:lnTo>
                <a:lnTo>
                  <a:pt x="96" y="223"/>
                </a:lnTo>
                <a:lnTo>
                  <a:pt x="96" y="230"/>
                </a:lnTo>
                <a:lnTo>
                  <a:pt x="96" y="921"/>
                </a:lnTo>
                <a:lnTo>
                  <a:pt x="96" y="1613"/>
                </a:lnTo>
                <a:lnTo>
                  <a:pt x="96" y="1627"/>
                </a:lnTo>
                <a:lnTo>
                  <a:pt x="98" y="1641"/>
                </a:lnTo>
                <a:lnTo>
                  <a:pt x="102" y="1654"/>
                </a:lnTo>
                <a:lnTo>
                  <a:pt x="104" y="1660"/>
                </a:lnTo>
                <a:lnTo>
                  <a:pt x="106" y="1666"/>
                </a:lnTo>
                <a:lnTo>
                  <a:pt x="112" y="1678"/>
                </a:lnTo>
                <a:lnTo>
                  <a:pt x="115" y="1684"/>
                </a:lnTo>
                <a:lnTo>
                  <a:pt x="118" y="1689"/>
                </a:lnTo>
                <a:lnTo>
                  <a:pt x="126" y="1699"/>
                </a:lnTo>
                <a:lnTo>
                  <a:pt x="135" y="1709"/>
                </a:lnTo>
                <a:lnTo>
                  <a:pt x="139" y="1713"/>
                </a:lnTo>
                <a:lnTo>
                  <a:pt x="144" y="1717"/>
                </a:lnTo>
                <a:lnTo>
                  <a:pt x="154" y="1725"/>
                </a:lnTo>
                <a:lnTo>
                  <a:pt x="160" y="1729"/>
                </a:lnTo>
                <a:lnTo>
                  <a:pt x="165" y="1732"/>
                </a:lnTo>
                <a:lnTo>
                  <a:pt x="171" y="1735"/>
                </a:lnTo>
                <a:lnTo>
                  <a:pt x="177" y="1737"/>
                </a:lnTo>
                <a:lnTo>
                  <a:pt x="183" y="1740"/>
                </a:lnTo>
                <a:lnTo>
                  <a:pt x="189" y="1742"/>
                </a:lnTo>
                <a:lnTo>
                  <a:pt x="196" y="1744"/>
                </a:lnTo>
                <a:lnTo>
                  <a:pt x="202" y="1745"/>
                </a:lnTo>
                <a:lnTo>
                  <a:pt x="209" y="1746"/>
                </a:lnTo>
                <a:lnTo>
                  <a:pt x="215" y="1747"/>
                </a:lnTo>
                <a:lnTo>
                  <a:pt x="229" y="1748"/>
                </a:lnTo>
                <a:lnTo>
                  <a:pt x="920" y="1748"/>
                </a:lnTo>
                <a:lnTo>
                  <a:pt x="1613" y="1748"/>
                </a:lnTo>
                <a:lnTo>
                  <a:pt x="1627" y="1747"/>
                </a:lnTo>
                <a:lnTo>
                  <a:pt x="1640" y="1745"/>
                </a:lnTo>
                <a:lnTo>
                  <a:pt x="1653" y="1742"/>
                </a:lnTo>
                <a:lnTo>
                  <a:pt x="1659" y="1740"/>
                </a:lnTo>
                <a:lnTo>
                  <a:pt x="1665" y="1737"/>
                </a:lnTo>
                <a:lnTo>
                  <a:pt x="1677" y="1732"/>
                </a:lnTo>
                <a:lnTo>
                  <a:pt x="1683" y="1729"/>
                </a:lnTo>
                <a:lnTo>
                  <a:pt x="1688" y="1725"/>
                </a:lnTo>
                <a:lnTo>
                  <a:pt x="1698" y="1717"/>
                </a:lnTo>
                <a:lnTo>
                  <a:pt x="1708" y="1709"/>
                </a:lnTo>
                <a:lnTo>
                  <a:pt x="1712" y="1704"/>
                </a:lnTo>
                <a:lnTo>
                  <a:pt x="1716" y="1699"/>
                </a:lnTo>
                <a:lnTo>
                  <a:pt x="1724" y="1689"/>
                </a:lnTo>
                <a:lnTo>
                  <a:pt x="1727" y="1684"/>
                </a:lnTo>
                <a:lnTo>
                  <a:pt x="1731" y="1678"/>
                </a:lnTo>
                <a:lnTo>
                  <a:pt x="1734" y="1672"/>
                </a:lnTo>
                <a:lnTo>
                  <a:pt x="1736" y="1666"/>
                </a:lnTo>
                <a:lnTo>
                  <a:pt x="1739" y="1660"/>
                </a:lnTo>
                <a:lnTo>
                  <a:pt x="1741" y="1654"/>
                </a:lnTo>
                <a:lnTo>
                  <a:pt x="1743" y="1648"/>
                </a:lnTo>
                <a:lnTo>
                  <a:pt x="1744" y="1641"/>
                </a:lnTo>
                <a:lnTo>
                  <a:pt x="1745" y="1635"/>
                </a:lnTo>
                <a:lnTo>
                  <a:pt x="1746" y="1627"/>
                </a:lnTo>
                <a:lnTo>
                  <a:pt x="1747" y="1620"/>
                </a:lnTo>
                <a:lnTo>
                  <a:pt x="1747" y="1613"/>
                </a:lnTo>
                <a:lnTo>
                  <a:pt x="1747" y="921"/>
                </a:lnTo>
                <a:lnTo>
                  <a:pt x="1747" y="230"/>
                </a:lnTo>
                <a:lnTo>
                  <a:pt x="1746" y="216"/>
                </a:lnTo>
                <a:lnTo>
                  <a:pt x="1744" y="203"/>
                </a:lnTo>
                <a:lnTo>
                  <a:pt x="1741" y="190"/>
                </a:lnTo>
                <a:lnTo>
                  <a:pt x="1739" y="184"/>
                </a:lnTo>
                <a:lnTo>
                  <a:pt x="1736" y="178"/>
                </a:lnTo>
                <a:lnTo>
                  <a:pt x="1731" y="167"/>
                </a:lnTo>
                <a:lnTo>
                  <a:pt x="1727" y="161"/>
                </a:lnTo>
                <a:lnTo>
                  <a:pt x="1724" y="156"/>
                </a:lnTo>
                <a:lnTo>
                  <a:pt x="1716" y="145"/>
                </a:lnTo>
                <a:lnTo>
                  <a:pt x="1708" y="136"/>
                </a:lnTo>
                <a:lnTo>
                  <a:pt x="1703" y="131"/>
                </a:lnTo>
                <a:lnTo>
                  <a:pt x="1698" y="127"/>
                </a:lnTo>
                <a:lnTo>
                  <a:pt x="1688" y="118"/>
                </a:lnTo>
                <a:lnTo>
                  <a:pt x="1683" y="115"/>
                </a:lnTo>
                <a:lnTo>
                  <a:pt x="1677" y="112"/>
                </a:lnTo>
                <a:lnTo>
                  <a:pt x="1671" y="109"/>
                </a:lnTo>
                <a:lnTo>
                  <a:pt x="1665" y="106"/>
                </a:lnTo>
                <a:lnTo>
                  <a:pt x="1659" y="104"/>
                </a:lnTo>
                <a:lnTo>
                  <a:pt x="1653" y="102"/>
                </a:lnTo>
                <a:lnTo>
                  <a:pt x="1647" y="100"/>
                </a:lnTo>
                <a:lnTo>
                  <a:pt x="1640" y="98"/>
                </a:lnTo>
                <a:lnTo>
                  <a:pt x="1634" y="97"/>
                </a:lnTo>
                <a:lnTo>
                  <a:pt x="1627" y="96"/>
                </a:lnTo>
                <a:lnTo>
                  <a:pt x="1613" y="96"/>
                </a:lnTo>
                <a:lnTo>
                  <a:pt x="920" y="96"/>
                </a:lnTo>
                <a:lnTo>
                  <a:pt x="229" y="96"/>
                </a:lnTo>
                <a:close/>
                <a:moveTo>
                  <a:pt x="1404" y="791"/>
                </a:moveTo>
                <a:lnTo>
                  <a:pt x="1301" y="893"/>
                </a:lnTo>
                <a:lnTo>
                  <a:pt x="1281" y="875"/>
                </a:lnTo>
                <a:lnTo>
                  <a:pt x="1260" y="857"/>
                </a:lnTo>
                <a:lnTo>
                  <a:pt x="1250" y="848"/>
                </a:lnTo>
                <a:lnTo>
                  <a:pt x="1239" y="840"/>
                </a:lnTo>
                <a:lnTo>
                  <a:pt x="1217" y="825"/>
                </a:lnTo>
                <a:lnTo>
                  <a:pt x="1206" y="818"/>
                </a:lnTo>
                <a:lnTo>
                  <a:pt x="1195" y="811"/>
                </a:lnTo>
                <a:lnTo>
                  <a:pt x="1183" y="805"/>
                </a:lnTo>
                <a:lnTo>
                  <a:pt x="1172" y="798"/>
                </a:lnTo>
                <a:lnTo>
                  <a:pt x="1160" y="792"/>
                </a:lnTo>
                <a:lnTo>
                  <a:pt x="1148" y="787"/>
                </a:lnTo>
                <a:lnTo>
                  <a:pt x="1136" y="781"/>
                </a:lnTo>
                <a:lnTo>
                  <a:pt x="1124" y="776"/>
                </a:lnTo>
                <a:lnTo>
                  <a:pt x="1100" y="767"/>
                </a:lnTo>
                <a:lnTo>
                  <a:pt x="1074" y="759"/>
                </a:lnTo>
                <a:lnTo>
                  <a:pt x="1062" y="756"/>
                </a:lnTo>
                <a:lnTo>
                  <a:pt x="1050" y="753"/>
                </a:lnTo>
                <a:lnTo>
                  <a:pt x="1024" y="747"/>
                </a:lnTo>
                <a:lnTo>
                  <a:pt x="1012" y="745"/>
                </a:lnTo>
                <a:lnTo>
                  <a:pt x="999" y="743"/>
                </a:lnTo>
                <a:lnTo>
                  <a:pt x="974" y="740"/>
                </a:lnTo>
                <a:lnTo>
                  <a:pt x="961" y="739"/>
                </a:lnTo>
                <a:lnTo>
                  <a:pt x="948" y="738"/>
                </a:lnTo>
                <a:lnTo>
                  <a:pt x="935" y="737"/>
                </a:lnTo>
                <a:lnTo>
                  <a:pt x="923" y="737"/>
                </a:lnTo>
                <a:lnTo>
                  <a:pt x="897" y="738"/>
                </a:lnTo>
                <a:lnTo>
                  <a:pt x="871" y="740"/>
                </a:lnTo>
                <a:lnTo>
                  <a:pt x="846" y="743"/>
                </a:lnTo>
                <a:lnTo>
                  <a:pt x="821" y="747"/>
                </a:lnTo>
                <a:lnTo>
                  <a:pt x="795" y="753"/>
                </a:lnTo>
                <a:lnTo>
                  <a:pt x="771" y="759"/>
                </a:lnTo>
                <a:lnTo>
                  <a:pt x="758" y="763"/>
                </a:lnTo>
                <a:lnTo>
                  <a:pt x="746" y="767"/>
                </a:lnTo>
                <a:lnTo>
                  <a:pt x="734" y="772"/>
                </a:lnTo>
                <a:lnTo>
                  <a:pt x="722" y="776"/>
                </a:lnTo>
                <a:lnTo>
                  <a:pt x="698" y="787"/>
                </a:lnTo>
                <a:lnTo>
                  <a:pt x="674" y="798"/>
                </a:lnTo>
                <a:lnTo>
                  <a:pt x="663" y="805"/>
                </a:lnTo>
                <a:lnTo>
                  <a:pt x="651" y="811"/>
                </a:lnTo>
                <a:lnTo>
                  <a:pt x="629" y="825"/>
                </a:lnTo>
                <a:lnTo>
                  <a:pt x="607" y="840"/>
                </a:lnTo>
                <a:lnTo>
                  <a:pt x="596" y="848"/>
                </a:lnTo>
                <a:lnTo>
                  <a:pt x="586" y="857"/>
                </a:lnTo>
                <a:lnTo>
                  <a:pt x="565" y="875"/>
                </a:lnTo>
                <a:lnTo>
                  <a:pt x="555" y="884"/>
                </a:lnTo>
                <a:lnTo>
                  <a:pt x="545" y="893"/>
                </a:lnTo>
                <a:lnTo>
                  <a:pt x="443" y="791"/>
                </a:lnTo>
                <a:lnTo>
                  <a:pt x="455" y="778"/>
                </a:lnTo>
                <a:lnTo>
                  <a:pt x="468" y="767"/>
                </a:lnTo>
                <a:lnTo>
                  <a:pt x="481" y="755"/>
                </a:lnTo>
                <a:lnTo>
                  <a:pt x="494" y="744"/>
                </a:lnTo>
                <a:lnTo>
                  <a:pt x="521" y="723"/>
                </a:lnTo>
                <a:lnTo>
                  <a:pt x="549" y="704"/>
                </a:lnTo>
                <a:lnTo>
                  <a:pt x="563" y="695"/>
                </a:lnTo>
                <a:lnTo>
                  <a:pt x="578" y="686"/>
                </a:lnTo>
                <a:lnTo>
                  <a:pt x="592" y="677"/>
                </a:lnTo>
                <a:lnTo>
                  <a:pt x="607" y="670"/>
                </a:lnTo>
                <a:lnTo>
                  <a:pt x="622" y="662"/>
                </a:lnTo>
                <a:lnTo>
                  <a:pt x="637" y="655"/>
                </a:lnTo>
                <a:lnTo>
                  <a:pt x="652" y="648"/>
                </a:lnTo>
                <a:lnTo>
                  <a:pt x="667" y="642"/>
                </a:lnTo>
                <a:lnTo>
                  <a:pt x="683" y="636"/>
                </a:lnTo>
                <a:lnTo>
                  <a:pt x="698" y="630"/>
                </a:lnTo>
                <a:lnTo>
                  <a:pt x="714" y="625"/>
                </a:lnTo>
                <a:lnTo>
                  <a:pt x="729" y="620"/>
                </a:lnTo>
                <a:lnTo>
                  <a:pt x="745" y="615"/>
                </a:lnTo>
                <a:lnTo>
                  <a:pt x="761" y="611"/>
                </a:lnTo>
                <a:lnTo>
                  <a:pt x="777" y="608"/>
                </a:lnTo>
                <a:lnTo>
                  <a:pt x="793" y="604"/>
                </a:lnTo>
                <a:lnTo>
                  <a:pt x="809" y="601"/>
                </a:lnTo>
                <a:lnTo>
                  <a:pt x="825" y="599"/>
                </a:lnTo>
                <a:lnTo>
                  <a:pt x="858" y="595"/>
                </a:lnTo>
                <a:lnTo>
                  <a:pt x="890" y="593"/>
                </a:lnTo>
                <a:lnTo>
                  <a:pt x="923" y="592"/>
                </a:lnTo>
                <a:lnTo>
                  <a:pt x="955" y="593"/>
                </a:lnTo>
                <a:lnTo>
                  <a:pt x="988" y="595"/>
                </a:lnTo>
                <a:lnTo>
                  <a:pt x="1004" y="597"/>
                </a:lnTo>
                <a:lnTo>
                  <a:pt x="1020" y="599"/>
                </a:lnTo>
                <a:lnTo>
                  <a:pt x="1036" y="601"/>
                </a:lnTo>
                <a:lnTo>
                  <a:pt x="1052" y="604"/>
                </a:lnTo>
                <a:lnTo>
                  <a:pt x="1068" y="608"/>
                </a:lnTo>
                <a:lnTo>
                  <a:pt x="1084" y="611"/>
                </a:lnTo>
                <a:lnTo>
                  <a:pt x="1101" y="615"/>
                </a:lnTo>
                <a:lnTo>
                  <a:pt x="1117" y="620"/>
                </a:lnTo>
                <a:lnTo>
                  <a:pt x="1133" y="625"/>
                </a:lnTo>
                <a:lnTo>
                  <a:pt x="1148" y="630"/>
                </a:lnTo>
                <a:lnTo>
                  <a:pt x="1164" y="636"/>
                </a:lnTo>
                <a:lnTo>
                  <a:pt x="1179" y="642"/>
                </a:lnTo>
                <a:lnTo>
                  <a:pt x="1209" y="655"/>
                </a:lnTo>
                <a:lnTo>
                  <a:pt x="1224" y="662"/>
                </a:lnTo>
                <a:lnTo>
                  <a:pt x="1239" y="670"/>
                </a:lnTo>
                <a:lnTo>
                  <a:pt x="1254" y="678"/>
                </a:lnTo>
                <a:lnTo>
                  <a:pt x="1269" y="686"/>
                </a:lnTo>
                <a:lnTo>
                  <a:pt x="1297" y="704"/>
                </a:lnTo>
                <a:lnTo>
                  <a:pt x="1311" y="713"/>
                </a:lnTo>
                <a:lnTo>
                  <a:pt x="1325" y="723"/>
                </a:lnTo>
                <a:lnTo>
                  <a:pt x="1339" y="733"/>
                </a:lnTo>
                <a:lnTo>
                  <a:pt x="1352" y="744"/>
                </a:lnTo>
                <a:lnTo>
                  <a:pt x="1365" y="755"/>
                </a:lnTo>
                <a:lnTo>
                  <a:pt x="1378" y="767"/>
                </a:lnTo>
                <a:lnTo>
                  <a:pt x="1391" y="779"/>
                </a:lnTo>
                <a:lnTo>
                  <a:pt x="1404" y="791"/>
                </a:lnTo>
                <a:close/>
                <a:moveTo>
                  <a:pt x="883" y="1249"/>
                </a:moveTo>
                <a:lnTo>
                  <a:pt x="781" y="1147"/>
                </a:lnTo>
                <a:lnTo>
                  <a:pt x="788" y="1140"/>
                </a:lnTo>
                <a:lnTo>
                  <a:pt x="796" y="1133"/>
                </a:lnTo>
                <a:lnTo>
                  <a:pt x="804" y="1127"/>
                </a:lnTo>
                <a:lnTo>
                  <a:pt x="812" y="1121"/>
                </a:lnTo>
                <a:lnTo>
                  <a:pt x="821" y="1116"/>
                </a:lnTo>
                <a:lnTo>
                  <a:pt x="829" y="1111"/>
                </a:lnTo>
                <a:lnTo>
                  <a:pt x="838" y="1107"/>
                </a:lnTo>
                <a:lnTo>
                  <a:pt x="847" y="1103"/>
                </a:lnTo>
                <a:lnTo>
                  <a:pt x="856" y="1099"/>
                </a:lnTo>
                <a:lnTo>
                  <a:pt x="865" y="1096"/>
                </a:lnTo>
                <a:lnTo>
                  <a:pt x="884" y="1092"/>
                </a:lnTo>
                <a:lnTo>
                  <a:pt x="894" y="1090"/>
                </a:lnTo>
                <a:lnTo>
                  <a:pt x="903" y="1089"/>
                </a:lnTo>
                <a:lnTo>
                  <a:pt x="913" y="1088"/>
                </a:lnTo>
                <a:lnTo>
                  <a:pt x="923" y="1088"/>
                </a:lnTo>
                <a:lnTo>
                  <a:pt x="932" y="1088"/>
                </a:lnTo>
                <a:lnTo>
                  <a:pt x="942" y="1089"/>
                </a:lnTo>
                <a:lnTo>
                  <a:pt x="951" y="1090"/>
                </a:lnTo>
                <a:lnTo>
                  <a:pt x="961" y="1092"/>
                </a:lnTo>
                <a:lnTo>
                  <a:pt x="980" y="1096"/>
                </a:lnTo>
                <a:lnTo>
                  <a:pt x="989" y="1099"/>
                </a:lnTo>
                <a:lnTo>
                  <a:pt x="998" y="1103"/>
                </a:lnTo>
                <a:lnTo>
                  <a:pt x="1007" y="1107"/>
                </a:lnTo>
                <a:lnTo>
                  <a:pt x="1016" y="1111"/>
                </a:lnTo>
                <a:lnTo>
                  <a:pt x="1025" y="1116"/>
                </a:lnTo>
                <a:lnTo>
                  <a:pt x="1033" y="1121"/>
                </a:lnTo>
                <a:lnTo>
                  <a:pt x="1041" y="1127"/>
                </a:lnTo>
                <a:lnTo>
                  <a:pt x="1049" y="1133"/>
                </a:lnTo>
                <a:lnTo>
                  <a:pt x="1057" y="1140"/>
                </a:lnTo>
                <a:lnTo>
                  <a:pt x="1065" y="1147"/>
                </a:lnTo>
                <a:lnTo>
                  <a:pt x="962" y="1249"/>
                </a:lnTo>
                <a:lnTo>
                  <a:pt x="958" y="1246"/>
                </a:lnTo>
                <a:lnTo>
                  <a:pt x="953" y="1243"/>
                </a:lnTo>
                <a:lnTo>
                  <a:pt x="948" y="1240"/>
                </a:lnTo>
                <a:lnTo>
                  <a:pt x="944" y="1238"/>
                </a:lnTo>
                <a:lnTo>
                  <a:pt x="938" y="1236"/>
                </a:lnTo>
                <a:lnTo>
                  <a:pt x="933" y="1235"/>
                </a:lnTo>
                <a:lnTo>
                  <a:pt x="928" y="1234"/>
                </a:lnTo>
                <a:lnTo>
                  <a:pt x="923" y="1234"/>
                </a:lnTo>
                <a:lnTo>
                  <a:pt x="917" y="1234"/>
                </a:lnTo>
                <a:lnTo>
                  <a:pt x="912" y="1235"/>
                </a:lnTo>
                <a:lnTo>
                  <a:pt x="907" y="1236"/>
                </a:lnTo>
                <a:lnTo>
                  <a:pt x="902" y="1238"/>
                </a:lnTo>
                <a:lnTo>
                  <a:pt x="897" y="1240"/>
                </a:lnTo>
                <a:lnTo>
                  <a:pt x="892" y="1243"/>
                </a:lnTo>
                <a:lnTo>
                  <a:pt x="887" y="1246"/>
                </a:lnTo>
                <a:lnTo>
                  <a:pt x="883" y="1249"/>
                </a:lnTo>
                <a:close/>
                <a:moveTo>
                  <a:pt x="1227" y="967"/>
                </a:moveTo>
                <a:lnTo>
                  <a:pt x="1124" y="1070"/>
                </a:lnTo>
                <a:lnTo>
                  <a:pt x="1114" y="1060"/>
                </a:lnTo>
                <a:lnTo>
                  <a:pt x="1103" y="1051"/>
                </a:lnTo>
                <a:lnTo>
                  <a:pt x="1091" y="1042"/>
                </a:lnTo>
                <a:lnTo>
                  <a:pt x="1079" y="1034"/>
                </a:lnTo>
                <a:lnTo>
                  <a:pt x="1067" y="1027"/>
                </a:lnTo>
                <a:lnTo>
                  <a:pt x="1061" y="1023"/>
                </a:lnTo>
                <a:lnTo>
                  <a:pt x="1055" y="1020"/>
                </a:lnTo>
                <a:lnTo>
                  <a:pt x="1042" y="1014"/>
                </a:lnTo>
                <a:lnTo>
                  <a:pt x="1029" y="1008"/>
                </a:lnTo>
                <a:lnTo>
                  <a:pt x="1016" y="1003"/>
                </a:lnTo>
                <a:lnTo>
                  <a:pt x="1003" y="999"/>
                </a:lnTo>
                <a:lnTo>
                  <a:pt x="990" y="996"/>
                </a:lnTo>
                <a:lnTo>
                  <a:pt x="977" y="993"/>
                </a:lnTo>
                <a:lnTo>
                  <a:pt x="963" y="990"/>
                </a:lnTo>
                <a:lnTo>
                  <a:pt x="950" y="989"/>
                </a:lnTo>
                <a:lnTo>
                  <a:pt x="936" y="988"/>
                </a:lnTo>
                <a:lnTo>
                  <a:pt x="923" y="987"/>
                </a:lnTo>
                <a:lnTo>
                  <a:pt x="909" y="988"/>
                </a:lnTo>
                <a:lnTo>
                  <a:pt x="895" y="989"/>
                </a:lnTo>
                <a:lnTo>
                  <a:pt x="882" y="990"/>
                </a:lnTo>
                <a:lnTo>
                  <a:pt x="868" y="993"/>
                </a:lnTo>
                <a:lnTo>
                  <a:pt x="862" y="994"/>
                </a:lnTo>
                <a:lnTo>
                  <a:pt x="855" y="996"/>
                </a:lnTo>
                <a:lnTo>
                  <a:pt x="842" y="999"/>
                </a:lnTo>
                <a:lnTo>
                  <a:pt x="829" y="1003"/>
                </a:lnTo>
                <a:lnTo>
                  <a:pt x="816" y="1008"/>
                </a:lnTo>
                <a:lnTo>
                  <a:pt x="803" y="1014"/>
                </a:lnTo>
                <a:lnTo>
                  <a:pt x="791" y="1020"/>
                </a:lnTo>
                <a:lnTo>
                  <a:pt x="778" y="1027"/>
                </a:lnTo>
                <a:lnTo>
                  <a:pt x="766" y="1034"/>
                </a:lnTo>
                <a:lnTo>
                  <a:pt x="755" y="1042"/>
                </a:lnTo>
                <a:lnTo>
                  <a:pt x="743" y="1051"/>
                </a:lnTo>
                <a:lnTo>
                  <a:pt x="732" y="1060"/>
                </a:lnTo>
                <a:lnTo>
                  <a:pt x="727" y="1065"/>
                </a:lnTo>
                <a:lnTo>
                  <a:pt x="722" y="1070"/>
                </a:lnTo>
                <a:lnTo>
                  <a:pt x="619" y="967"/>
                </a:lnTo>
                <a:lnTo>
                  <a:pt x="635" y="952"/>
                </a:lnTo>
                <a:lnTo>
                  <a:pt x="652" y="938"/>
                </a:lnTo>
                <a:lnTo>
                  <a:pt x="669" y="925"/>
                </a:lnTo>
                <a:lnTo>
                  <a:pt x="687" y="913"/>
                </a:lnTo>
                <a:lnTo>
                  <a:pt x="705" y="901"/>
                </a:lnTo>
                <a:lnTo>
                  <a:pt x="723" y="891"/>
                </a:lnTo>
                <a:lnTo>
                  <a:pt x="742" y="882"/>
                </a:lnTo>
                <a:lnTo>
                  <a:pt x="752" y="877"/>
                </a:lnTo>
                <a:lnTo>
                  <a:pt x="761" y="873"/>
                </a:lnTo>
                <a:lnTo>
                  <a:pt x="781" y="866"/>
                </a:lnTo>
                <a:lnTo>
                  <a:pt x="791" y="863"/>
                </a:lnTo>
                <a:lnTo>
                  <a:pt x="801" y="860"/>
                </a:lnTo>
                <a:lnTo>
                  <a:pt x="821" y="854"/>
                </a:lnTo>
                <a:lnTo>
                  <a:pt x="841" y="850"/>
                </a:lnTo>
                <a:lnTo>
                  <a:pt x="861" y="846"/>
                </a:lnTo>
                <a:lnTo>
                  <a:pt x="882" y="844"/>
                </a:lnTo>
                <a:lnTo>
                  <a:pt x="902" y="842"/>
                </a:lnTo>
                <a:lnTo>
                  <a:pt x="923" y="842"/>
                </a:lnTo>
                <a:lnTo>
                  <a:pt x="943" y="842"/>
                </a:lnTo>
                <a:lnTo>
                  <a:pt x="964" y="844"/>
                </a:lnTo>
                <a:lnTo>
                  <a:pt x="984" y="846"/>
                </a:lnTo>
                <a:lnTo>
                  <a:pt x="994" y="848"/>
                </a:lnTo>
                <a:lnTo>
                  <a:pt x="1005" y="850"/>
                </a:lnTo>
                <a:lnTo>
                  <a:pt x="1025" y="854"/>
                </a:lnTo>
                <a:lnTo>
                  <a:pt x="1045" y="860"/>
                </a:lnTo>
                <a:lnTo>
                  <a:pt x="1065" y="866"/>
                </a:lnTo>
                <a:lnTo>
                  <a:pt x="1084" y="873"/>
                </a:lnTo>
                <a:lnTo>
                  <a:pt x="1104" y="882"/>
                </a:lnTo>
                <a:lnTo>
                  <a:pt x="1123" y="891"/>
                </a:lnTo>
                <a:lnTo>
                  <a:pt x="1142" y="901"/>
                </a:lnTo>
                <a:lnTo>
                  <a:pt x="1160" y="913"/>
                </a:lnTo>
                <a:lnTo>
                  <a:pt x="1177" y="925"/>
                </a:lnTo>
                <a:lnTo>
                  <a:pt x="1194" y="938"/>
                </a:lnTo>
                <a:lnTo>
                  <a:pt x="1203" y="945"/>
                </a:lnTo>
                <a:lnTo>
                  <a:pt x="1211" y="952"/>
                </a:lnTo>
                <a:lnTo>
                  <a:pt x="1227" y="96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B4245"/>
              </a:solidFill>
              <a:latin typeface="Arial"/>
            </a:endParaRPr>
          </a:p>
        </p:txBody>
      </p:sp>
      <p:sp>
        <p:nvSpPr>
          <p:cNvPr id="52" name="Freeform 9"/>
          <p:cNvSpPr>
            <a:spLocks noChangeAspect="1" noEditPoints="1"/>
          </p:cNvSpPr>
          <p:nvPr/>
        </p:nvSpPr>
        <p:spPr bwMode="auto">
          <a:xfrm>
            <a:off x="7538148" y="5554030"/>
            <a:ext cx="360278" cy="360083"/>
          </a:xfrm>
          <a:custGeom>
            <a:avLst/>
            <a:gdLst>
              <a:gd name="T0" fmla="*/ 1671 w 1844"/>
              <a:gd name="T1" fmla="*/ 7 h 1843"/>
              <a:gd name="T2" fmla="*/ 1752 w 1844"/>
              <a:gd name="T3" fmla="*/ 45 h 1843"/>
              <a:gd name="T4" fmla="*/ 1811 w 1844"/>
              <a:gd name="T5" fmla="*/ 110 h 1843"/>
              <a:gd name="T6" fmla="*/ 1841 w 1844"/>
              <a:gd name="T7" fmla="*/ 194 h 1843"/>
              <a:gd name="T8" fmla="*/ 1841 w 1844"/>
              <a:gd name="T9" fmla="*/ 1649 h 1843"/>
              <a:gd name="T10" fmla="*/ 1811 w 1844"/>
              <a:gd name="T11" fmla="*/ 1733 h 1843"/>
              <a:gd name="T12" fmla="*/ 1752 w 1844"/>
              <a:gd name="T13" fmla="*/ 1797 h 1843"/>
              <a:gd name="T14" fmla="*/ 1671 w 1844"/>
              <a:gd name="T15" fmla="*/ 1836 h 1843"/>
              <a:gd name="T16" fmla="*/ 218 w 1844"/>
              <a:gd name="T17" fmla="*/ 1843 h 1843"/>
              <a:gd name="T18" fmla="*/ 130 w 1844"/>
              <a:gd name="T19" fmla="*/ 1820 h 1843"/>
              <a:gd name="T20" fmla="*/ 59 w 1844"/>
              <a:gd name="T21" fmla="*/ 1768 h 1843"/>
              <a:gd name="T22" fmla="*/ 14 w 1844"/>
              <a:gd name="T23" fmla="*/ 1692 h 1843"/>
              <a:gd name="T24" fmla="*/ 0 w 1844"/>
              <a:gd name="T25" fmla="*/ 922 h 1843"/>
              <a:gd name="T26" fmla="*/ 14 w 1844"/>
              <a:gd name="T27" fmla="*/ 150 h 1843"/>
              <a:gd name="T28" fmla="*/ 59 w 1844"/>
              <a:gd name="T29" fmla="*/ 75 h 1843"/>
              <a:gd name="T30" fmla="*/ 130 w 1844"/>
              <a:gd name="T31" fmla="*/ 22 h 1843"/>
              <a:gd name="T32" fmla="*/ 218 w 1844"/>
              <a:gd name="T33" fmla="*/ 0 h 1843"/>
              <a:gd name="T34" fmla="*/ 165 w 1844"/>
              <a:gd name="T35" fmla="*/ 112 h 1843"/>
              <a:gd name="T36" fmla="*/ 115 w 1844"/>
              <a:gd name="T37" fmla="*/ 160 h 1843"/>
              <a:gd name="T38" fmla="*/ 97 w 1844"/>
              <a:gd name="T39" fmla="*/ 209 h 1843"/>
              <a:gd name="T40" fmla="*/ 102 w 1844"/>
              <a:gd name="T41" fmla="*/ 1653 h 1843"/>
              <a:gd name="T42" fmla="*/ 139 w 1844"/>
              <a:gd name="T43" fmla="*/ 1712 h 1843"/>
              <a:gd name="T44" fmla="*/ 190 w 1844"/>
              <a:gd name="T45" fmla="*/ 1741 h 1843"/>
              <a:gd name="T46" fmla="*/ 1627 w 1844"/>
              <a:gd name="T47" fmla="*/ 1746 h 1843"/>
              <a:gd name="T48" fmla="*/ 1699 w 1844"/>
              <a:gd name="T49" fmla="*/ 1717 h 1843"/>
              <a:gd name="T50" fmla="*/ 1737 w 1844"/>
              <a:gd name="T51" fmla="*/ 1666 h 1843"/>
              <a:gd name="T52" fmla="*/ 1748 w 1844"/>
              <a:gd name="T53" fmla="*/ 1614 h 1843"/>
              <a:gd name="T54" fmla="*/ 1732 w 1844"/>
              <a:gd name="T55" fmla="*/ 166 h 1843"/>
              <a:gd name="T56" fmla="*/ 1683 w 1844"/>
              <a:gd name="T57" fmla="*/ 115 h 1843"/>
              <a:gd name="T58" fmla="*/ 1634 w 1844"/>
              <a:gd name="T59" fmla="*/ 97 h 1843"/>
              <a:gd name="T60" fmla="*/ 708 w 1844"/>
              <a:gd name="T61" fmla="*/ 798 h 1843"/>
              <a:gd name="T62" fmla="*/ 736 w 1844"/>
              <a:gd name="T63" fmla="*/ 877 h 1843"/>
              <a:gd name="T64" fmla="*/ 792 w 1844"/>
              <a:gd name="T65" fmla="*/ 938 h 1843"/>
              <a:gd name="T66" fmla="*/ 867 w 1844"/>
              <a:gd name="T67" fmla="*/ 974 h 1843"/>
              <a:gd name="T68" fmla="*/ 953 w 1844"/>
              <a:gd name="T69" fmla="*/ 978 h 1843"/>
              <a:gd name="T70" fmla="*/ 1032 w 1844"/>
              <a:gd name="T71" fmla="*/ 949 h 1843"/>
              <a:gd name="T72" fmla="*/ 1093 w 1844"/>
              <a:gd name="T73" fmla="*/ 894 h 1843"/>
              <a:gd name="T74" fmla="*/ 1129 w 1844"/>
              <a:gd name="T75" fmla="*/ 819 h 1843"/>
              <a:gd name="T76" fmla="*/ 1134 w 1844"/>
              <a:gd name="T77" fmla="*/ 731 h 1843"/>
              <a:gd name="T78" fmla="*/ 1105 w 1844"/>
              <a:gd name="T79" fmla="*/ 652 h 1843"/>
              <a:gd name="T80" fmla="*/ 1050 w 1844"/>
              <a:gd name="T81" fmla="*/ 591 h 1843"/>
              <a:gd name="T82" fmla="*/ 975 w 1844"/>
              <a:gd name="T83" fmla="*/ 555 h 1843"/>
              <a:gd name="T84" fmla="*/ 888 w 1844"/>
              <a:gd name="T85" fmla="*/ 551 h 1843"/>
              <a:gd name="T86" fmla="*/ 809 w 1844"/>
              <a:gd name="T87" fmla="*/ 580 h 1843"/>
              <a:gd name="T88" fmla="*/ 748 w 1844"/>
              <a:gd name="T89" fmla="*/ 635 h 1843"/>
              <a:gd name="T90" fmla="*/ 712 w 1844"/>
              <a:gd name="T91" fmla="*/ 710 h 1843"/>
              <a:gd name="T92" fmla="*/ 959 w 1844"/>
              <a:gd name="T93" fmla="*/ 403 h 1843"/>
              <a:gd name="T94" fmla="*/ 1097 w 1844"/>
              <a:gd name="T95" fmla="*/ 445 h 1843"/>
              <a:gd name="T96" fmla="*/ 1207 w 1844"/>
              <a:gd name="T97" fmla="*/ 534 h 1843"/>
              <a:gd name="T98" fmla="*/ 1275 w 1844"/>
              <a:gd name="T99" fmla="*/ 660 h 1843"/>
              <a:gd name="T100" fmla="*/ 1292 w 1844"/>
              <a:gd name="T101" fmla="*/ 787 h 1843"/>
              <a:gd name="T102" fmla="*/ 1267 w 1844"/>
              <a:gd name="T103" fmla="*/ 906 h 1843"/>
              <a:gd name="T104" fmla="*/ 1221 w 1844"/>
              <a:gd name="T105" fmla="*/ 989 h 1843"/>
              <a:gd name="T106" fmla="*/ 617 w 1844"/>
              <a:gd name="T107" fmla="*/ 983 h 1843"/>
              <a:gd name="T108" fmla="*/ 566 w 1844"/>
              <a:gd name="T109" fmla="*/ 878 h 1843"/>
              <a:gd name="T110" fmla="*/ 551 w 1844"/>
              <a:gd name="T111" fmla="*/ 771 h 1843"/>
              <a:gd name="T112" fmla="*/ 580 w 1844"/>
              <a:gd name="T113" fmla="*/ 626 h 1843"/>
              <a:gd name="T114" fmla="*/ 620 w 1844"/>
              <a:gd name="T115" fmla="*/ 555 h 1843"/>
              <a:gd name="T116" fmla="*/ 714 w 1844"/>
              <a:gd name="T117" fmla="*/ 463 h 1843"/>
              <a:gd name="T118" fmla="*/ 846 w 1844"/>
              <a:gd name="T119" fmla="*/ 408 h 18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844" h="1843">
                <a:moveTo>
                  <a:pt x="230" y="0"/>
                </a:moveTo>
                <a:lnTo>
                  <a:pt x="921" y="0"/>
                </a:lnTo>
                <a:lnTo>
                  <a:pt x="1613" y="0"/>
                </a:lnTo>
                <a:lnTo>
                  <a:pt x="1625" y="0"/>
                </a:lnTo>
                <a:lnTo>
                  <a:pt x="1637" y="1"/>
                </a:lnTo>
                <a:lnTo>
                  <a:pt x="1648" y="2"/>
                </a:lnTo>
                <a:lnTo>
                  <a:pt x="1660" y="5"/>
                </a:lnTo>
                <a:lnTo>
                  <a:pt x="1671" y="7"/>
                </a:lnTo>
                <a:lnTo>
                  <a:pt x="1682" y="10"/>
                </a:lnTo>
                <a:lnTo>
                  <a:pt x="1693" y="14"/>
                </a:lnTo>
                <a:lnTo>
                  <a:pt x="1704" y="18"/>
                </a:lnTo>
                <a:lnTo>
                  <a:pt x="1714" y="22"/>
                </a:lnTo>
                <a:lnTo>
                  <a:pt x="1724" y="28"/>
                </a:lnTo>
                <a:lnTo>
                  <a:pt x="1733" y="33"/>
                </a:lnTo>
                <a:lnTo>
                  <a:pt x="1743" y="39"/>
                </a:lnTo>
                <a:lnTo>
                  <a:pt x="1752" y="45"/>
                </a:lnTo>
                <a:lnTo>
                  <a:pt x="1760" y="52"/>
                </a:lnTo>
                <a:lnTo>
                  <a:pt x="1769" y="59"/>
                </a:lnTo>
                <a:lnTo>
                  <a:pt x="1777" y="67"/>
                </a:lnTo>
                <a:lnTo>
                  <a:pt x="1784" y="75"/>
                </a:lnTo>
                <a:lnTo>
                  <a:pt x="1791" y="83"/>
                </a:lnTo>
                <a:lnTo>
                  <a:pt x="1798" y="92"/>
                </a:lnTo>
                <a:lnTo>
                  <a:pt x="1805" y="101"/>
                </a:lnTo>
                <a:lnTo>
                  <a:pt x="1811" y="110"/>
                </a:lnTo>
                <a:lnTo>
                  <a:pt x="1816" y="120"/>
                </a:lnTo>
                <a:lnTo>
                  <a:pt x="1821" y="130"/>
                </a:lnTo>
                <a:lnTo>
                  <a:pt x="1826" y="140"/>
                </a:lnTo>
                <a:lnTo>
                  <a:pt x="1830" y="150"/>
                </a:lnTo>
                <a:lnTo>
                  <a:pt x="1833" y="161"/>
                </a:lnTo>
                <a:lnTo>
                  <a:pt x="1837" y="172"/>
                </a:lnTo>
                <a:lnTo>
                  <a:pt x="1839" y="183"/>
                </a:lnTo>
                <a:lnTo>
                  <a:pt x="1841" y="194"/>
                </a:lnTo>
                <a:lnTo>
                  <a:pt x="1843" y="206"/>
                </a:lnTo>
                <a:lnTo>
                  <a:pt x="1843" y="217"/>
                </a:lnTo>
                <a:lnTo>
                  <a:pt x="1844" y="229"/>
                </a:lnTo>
                <a:lnTo>
                  <a:pt x="1844" y="922"/>
                </a:lnTo>
                <a:lnTo>
                  <a:pt x="1844" y="1614"/>
                </a:lnTo>
                <a:lnTo>
                  <a:pt x="1843" y="1625"/>
                </a:lnTo>
                <a:lnTo>
                  <a:pt x="1843" y="1637"/>
                </a:lnTo>
                <a:lnTo>
                  <a:pt x="1841" y="1649"/>
                </a:lnTo>
                <a:lnTo>
                  <a:pt x="1839" y="1660"/>
                </a:lnTo>
                <a:lnTo>
                  <a:pt x="1837" y="1671"/>
                </a:lnTo>
                <a:lnTo>
                  <a:pt x="1833" y="1682"/>
                </a:lnTo>
                <a:lnTo>
                  <a:pt x="1830" y="1692"/>
                </a:lnTo>
                <a:lnTo>
                  <a:pt x="1826" y="1703"/>
                </a:lnTo>
                <a:lnTo>
                  <a:pt x="1821" y="1713"/>
                </a:lnTo>
                <a:lnTo>
                  <a:pt x="1816" y="1723"/>
                </a:lnTo>
                <a:lnTo>
                  <a:pt x="1811" y="1733"/>
                </a:lnTo>
                <a:lnTo>
                  <a:pt x="1805" y="1742"/>
                </a:lnTo>
                <a:lnTo>
                  <a:pt x="1798" y="1751"/>
                </a:lnTo>
                <a:lnTo>
                  <a:pt x="1791" y="1760"/>
                </a:lnTo>
                <a:lnTo>
                  <a:pt x="1784" y="1768"/>
                </a:lnTo>
                <a:lnTo>
                  <a:pt x="1777" y="1776"/>
                </a:lnTo>
                <a:lnTo>
                  <a:pt x="1769" y="1783"/>
                </a:lnTo>
                <a:lnTo>
                  <a:pt x="1760" y="1791"/>
                </a:lnTo>
                <a:lnTo>
                  <a:pt x="1752" y="1797"/>
                </a:lnTo>
                <a:lnTo>
                  <a:pt x="1743" y="1804"/>
                </a:lnTo>
                <a:lnTo>
                  <a:pt x="1733" y="1810"/>
                </a:lnTo>
                <a:lnTo>
                  <a:pt x="1724" y="1815"/>
                </a:lnTo>
                <a:lnTo>
                  <a:pt x="1714" y="1820"/>
                </a:lnTo>
                <a:lnTo>
                  <a:pt x="1704" y="1825"/>
                </a:lnTo>
                <a:lnTo>
                  <a:pt x="1693" y="1829"/>
                </a:lnTo>
                <a:lnTo>
                  <a:pt x="1682" y="1833"/>
                </a:lnTo>
                <a:lnTo>
                  <a:pt x="1671" y="1836"/>
                </a:lnTo>
                <a:lnTo>
                  <a:pt x="1660" y="1838"/>
                </a:lnTo>
                <a:lnTo>
                  <a:pt x="1648" y="1840"/>
                </a:lnTo>
                <a:lnTo>
                  <a:pt x="1637" y="1842"/>
                </a:lnTo>
                <a:lnTo>
                  <a:pt x="1625" y="1843"/>
                </a:lnTo>
                <a:lnTo>
                  <a:pt x="1613" y="1843"/>
                </a:lnTo>
                <a:lnTo>
                  <a:pt x="921" y="1843"/>
                </a:lnTo>
                <a:lnTo>
                  <a:pt x="230" y="1843"/>
                </a:lnTo>
                <a:lnTo>
                  <a:pt x="218" y="1843"/>
                </a:lnTo>
                <a:lnTo>
                  <a:pt x="207" y="1842"/>
                </a:lnTo>
                <a:lnTo>
                  <a:pt x="195" y="1840"/>
                </a:lnTo>
                <a:lnTo>
                  <a:pt x="184" y="1838"/>
                </a:lnTo>
                <a:lnTo>
                  <a:pt x="172" y="1836"/>
                </a:lnTo>
                <a:lnTo>
                  <a:pt x="161" y="1833"/>
                </a:lnTo>
                <a:lnTo>
                  <a:pt x="150" y="1829"/>
                </a:lnTo>
                <a:lnTo>
                  <a:pt x="140" y="1825"/>
                </a:lnTo>
                <a:lnTo>
                  <a:pt x="130" y="1820"/>
                </a:lnTo>
                <a:lnTo>
                  <a:pt x="120" y="1815"/>
                </a:lnTo>
                <a:lnTo>
                  <a:pt x="110" y="1810"/>
                </a:lnTo>
                <a:lnTo>
                  <a:pt x="101" y="1804"/>
                </a:lnTo>
                <a:lnTo>
                  <a:pt x="92" y="1797"/>
                </a:lnTo>
                <a:lnTo>
                  <a:pt x="83" y="1791"/>
                </a:lnTo>
                <a:lnTo>
                  <a:pt x="75" y="1783"/>
                </a:lnTo>
                <a:lnTo>
                  <a:pt x="67" y="1776"/>
                </a:lnTo>
                <a:lnTo>
                  <a:pt x="59" y="1768"/>
                </a:lnTo>
                <a:lnTo>
                  <a:pt x="52" y="1760"/>
                </a:lnTo>
                <a:lnTo>
                  <a:pt x="45" y="1751"/>
                </a:lnTo>
                <a:lnTo>
                  <a:pt x="39" y="1742"/>
                </a:lnTo>
                <a:lnTo>
                  <a:pt x="33" y="1733"/>
                </a:lnTo>
                <a:lnTo>
                  <a:pt x="27" y="1723"/>
                </a:lnTo>
                <a:lnTo>
                  <a:pt x="22" y="1713"/>
                </a:lnTo>
                <a:lnTo>
                  <a:pt x="18" y="1703"/>
                </a:lnTo>
                <a:lnTo>
                  <a:pt x="14" y="1692"/>
                </a:lnTo>
                <a:lnTo>
                  <a:pt x="10" y="1682"/>
                </a:lnTo>
                <a:lnTo>
                  <a:pt x="7" y="1671"/>
                </a:lnTo>
                <a:lnTo>
                  <a:pt x="4" y="1660"/>
                </a:lnTo>
                <a:lnTo>
                  <a:pt x="2" y="1649"/>
                </a:lnTo>
                <a:lnTo>
                  <a:pt x="1" y="1637"/>
                </a:lnTo>
                <a:lnTo>
                  <a:pt x="0" y="1625"/>
                </a:lnTo>
                <a:lnTo>
                  <a:pt x="0" y="1614"/>
                </a:lnTo>
                <a:lnTo>
                  <a:pt x="0" y="922"/>
                </a:lnTo>
                <a:lnTo>
                  <a:pt x="0" y="229"/>
                </a:lnTo>
                <a:lnTo>
                  <a:pt x="0" y="217"/>
                </a:lnTo>
                <a:lnTo>
                  <a:pt x="1" y="206"/>
                </a:lnTo>
                <a:lnTo>
                  <a:pt x="2" y="194"/>
                </a:lnTo>
                <a:lnTo>
                  <a:pt x="4" y="183"/>
                </a:lnTo>
                <a:lnTo>
                  <a:pt x="7" y="172"/>
                </a:lnTo>
                <a:lnTo>
                  <a:pt x="10" y="161"/>
                </a:lnTo>
                <a:lnTo>
                  <a:pt x="14" y="150"/>
                </a:lnTo>
                <a:lnTo>
                  <a:pt x="18" y="140"/>
                </a:lnTo>
                <a:lnTo>
                  <a:pt x="22" y="130"/>
                </a:lnTo>
                <a:lnTo>
                  <a:pt x="27" y="120"/>
                </a:lnTo>
                <a:lnTo>
                  <a:pt x="33" y="110"/>
                </a:lnTo>
                <a:lnTo>
                  <a:pt x="39" y="101"/>
                </a:lnTo>
                <a:lnTo>
                  <a:pt x="45" y="92"/>
                </a:lnTo>
                <a:lnTo>
                  <a:pt x="52" y="83"/>
                </a:lnTo>
                <a:lnTo>
                  <a:pt x="59" y="75"/>
                </a:lnTo>
                <a:lnTo>
                  <a:pt x="67" y="67"/>
                </a:lnTo>
                <a:lnTo>
                  <a:pt x="75" y="59"/>
                </a:lnTo>
                <a:lnTo>
                  <a:pt x="83" y="52"/>
                </a:lnTo>
                <a:lnTo>
                  <a:pt x="92" y="45"/>
                </a:lnTo>
                <a:lnTo>
                  <a:pt x="101" y="39"/>
                </a:lnTo>
                <a:lnTo>
                  <a:pt x="110" y="33"/>
                </a:lnTo>
                <a:lnTo>
                  <a:pt x="120" y="28"/>
                </a:lnTo>
                <a:lnTo>
                  <a:pt x="130" y="22"/>
                </a:lnTo>
                <a:lnTo>
                  <a:pt x="140" y="18"/>
                </a:lnTo>
                <a:lnTo>
                  <a:pt x="150" y="14"/>
                </a:lnTo>
                <a:lnTo>
                  <a:pt x="161" y="10"/>
                </a:lnTo>
                <a:lnTo>
                  <a:pt x="172" y="7"/>
                </a:lnTo>
                <a:lnTo>
                  <a:pt x="184" y="5"/>
                </a:lnTo>
                <a:lnTo>
                  <a:pt x="195" y="2"/>
                </a:lnTo>
                <a:lnTo>
                  <a:pt x="207" y="1"/>
                </a:lnTo>
                <a:lnTo>
                  <a:pt x="218" y="0"/>
                </a:lnTo>
                <a:lnTo>
                  <a:pt x="230" y="0"/>
                </a:lnTo>
                <a:close/>
                <a:moveTo>
                  <a:pt x="230" y="96"/>
                </a:moveTo>
                <a:lnTo>
                  <a:pt x="216" y="97"/>
                </a:lnTo>
                <a:lnTo>
                  <a:pt x="203" y="99"/>
                </a:lnTo>
                <a:lnTo>
                  <a:pt x="190" y="102"/>
                </a:lnTo>
                <a:lnTo>
                  <a:pt x="184" y="104"/>
                </a:lnTo>
                <a:lnTo>
                  <a:pt x="178" y="106"/>
                </a:lnTo>
                <a:lnTo>
                  <a:pt x="165" y="112"/>
                </a:lnTo>
                <a:lnTo>
                  <a:pt x="160" y="115"/>
                </a:lnTo>
                <a:lnTo>
                  <a:pt x="154" y="119"/>
                </a:lnTo>
                <a:lnTo>
                  <a:pt x="144" y="126"/>
                </a:lnTo>
                <a:lnTo>
                  <a:pt x="135" y="135"/>
                </a:lnTo>
                <a:lnTo>
                  <a:pt x="130" y="140"/>
                </a:lnTo>
                <a:lnTo>
                  <a:pt x="126" y="144"/>
                </a:lnTo>
                <a:lnTo>
                  <a:pt x="118" y="155"/>
                </a:lnTo>
                <a:lnTo>
                  <a:pt x="115" y="160"/>
                </a:lnTo>
                <a:lnTo>
                  <a:pt x="112" y="166"/>
                </a:lnTo>
                <a:lnTo>
                  <a:pt x="109" y="171"/>
                </a:lnTo>
                <a:lnTo>
                  <a:pt x="106" y="177"/>
                </a:lnTo>
                <a:lnTo>
                  <a:pt x="104" y="183"/>
                </a:lnTo>
                <a:lnTo>
                  <a:pt x="102" y="190"/>
                </a:lnTo>
                <a:lnTo>
                  <a:pt x="100" y="196"/>
                </a:lnTo>
                <a:lnTo>
                  <a:pt x="98" y="202"/>
                </a:lnTo>
                <a:lnTo>
                  <a:pt x="97" y="209"/>
                </a:lnTo>
                <a:lnTo>
                  <a:pt x="96" y="216"/>
                </a:lnTo>
                <a:lnTo>
                  <a:pt x="96" y="222"/>
                </a:lnTo>
                <a:lnTo>
                  <a:pt x="96" y="229"/>
                </a:lnTo>
                <a:lnTo>
                  <a:pt x="96" y="922"/>
                </a:lnTo>
                <a:lnTo>
                  <a:pt x="96" y="1614"/>
                </a:lnTo>
                <a:lnTo>
                  <a:pt x="96" y="1627"/>
                </a:lnTo>
                <a:lnTo>
                  <a:pt x="98" y="1640"/>
                </a:lnTo>
                <a:lnTo>
                  <a:pt x="102" y="1653"/>
                </a:lnTo>
                <a:lnTo>
                  <a:pt x="104" y="1659"/>
                </a:lnTo>
                <a:lnTo>
                  <a:pt x="106" y="1666"/>
                </a:lnTo>
                <a:lnTo>
                  <a:pt x="112" y="1677"/>
                </a:lnTo>
                <a:lnTo>
                  <a:pt x="115" y="1683"/>
                </a:lnTo>
                <a:lnTo>
                  <a:pt x="118" y="1688"/>
                </a:lnTo>
                <a:lnTo>
                  <a:pt x="126" y="1698"/>
                </a:lnTo>
                <a:lnTo>
                  <a:pt x="135" y="1708"/>
                </a:lnTo>
                <a:lnTo>
                  <a:pt x="139" y="1712"/>
                </a:lnTo>
                <a:lnTo>
                  <a:pt x="144" y="1717"/>
                </a:lnTo>
                <a:lnTo>
                  <a:pt x="154" y="1724"/>
                </a:lnTo>
                <a:lnTo>
                  <a:pt x="160" y="1728"/>
                </a:lnTo>
                <a:lnTo>
                  <a:pt x="165" y="1731"/>
                </a:lnTo>
                <a:lnTo>
                  <a:pt x="171" y="1734"/>
                </a:lnTo>
                <a:lnTo>
                  <a:pt x="178" y="1737"/>
                </a:lnTo>
                <a:lnTo>
                  <a:pt x="184" y="1739"/>
                </a:lnTo>
                <a:lnTo>
                  <a:pt x="190" y="1741"/>
                </a:lnTo>
                <a:lnTo>
                  <a:pt x="197" y="1743"/>
                </a:lnTo>
                <a:lnTo>
                  <a:pt x="203" y="1744"/>
                </a:lnTo>
                <a:lnTo>
                  <a:pt x="210" y="1745"/>
                </a:lnTo>
                <a:lnTo>
                  <a:pt x="216" y="1746"/>
                </a:lnTo>
                <a:lnTo>
                  <a:pt x="230" y="1747"/>
                </a:lnTo>
                <a:lnTo>
                  <a:pt x="921" y="1747"/>
                </a:lnTo>
                <a:lnTo>
                  <a:pt x="1613" y="1747"/>
                </a:lnTo>
                <a:lnTo>
                  <a:pt x="1627" y="1746"/>
                </a:lnTo>
                <a:lnTo>
                  <a:pt x="1640" y="1744"/>
                </a:lnTo>
                <a:lnTo>
                  <a:pt x="1653" y="1741"/>
                </a:lnTo>
                <a:lnTo>
                  <a:pt x="1659" y="1739"/>
                </a:lnTo>
                <a:lnTo>
                  <a:pt x="1665" y="1737"/>
                </a:lnTo>
                <a:lnTo>
                  <a:pt x="1677" y="1731"/>
                </a:lnTo>
                <a:lnTo>
                  <a:pt x="1683" y="1728"/>
                </a:lnTo>
                <a:lnTo>
                  <a:pt x="1689" y="1724"/>
                </a:lnTo>
                <a:lnTo>
                  <a:pt x="1699" y="1717"/>
                </a:lnTo>
                <a:lnTo>
                  <a:pt x="1709" y="1708"/>
                </a:lnTo>
                <a:lnTo>
                  <a:pt x="1713" y="1703"/>
                </a:lnTo>
                <a:lnTo>
                  <a:pt x="1717" y="1698"/>
                </a:lnTo>
                <a:lnTo>
                  <a:pt x="1725" y="1688"/>
                </a:lnTo>
                <a:lnTo>
                  <a:pt x="1728" y="1683"/>
                </a:lnTo>
                <a:lnTo>
                  <a:pt x="1732" y="1677"/>
                </a:lnTo>
                <a:lnTo>
                  <a:pt x="1735" y="1671"/>
                </a:lnTo>
                <a:lnTo>
                  <a:pt x="1737" y="1666"/>
                </a:lnTo>
                <a:lnTo>
                  <a:pt x="1740" y="1659"/>
                </a:lnTo>
                <a:lnTo>
                  <a:pt x="1742" y="1653"/>
                </a:lnTo>
                <a:lnTo>
                  <a:pt x="1744" y="1647"/>
                </a:lnTo>
                <a:lnTo>
                  <a:pt x="1745" y="1640"/>
                </a:lnTo>
                <a:lnTo>
                  <a:pt x="1746" y="1634"/>
                </a:lnTo>
                <a:lnTo>
                  <a:pt x="1747" y="1627"/>
                </a:lnTo>
                <a:lnTo>
                  <a:pt x="1748" y="1620"/>
                </a:lnTo>
                <a:lnTo>
                  <a:pt x="1748" y="1614"/>
                </a:lnTo>
                <a:lnTo>
                  <a:pt x="1748" y="922"/>
                </a:lnTo>
                <a:lnTo>
                  <a:pt x="1748" y="229"/>
                </a:lnTo>
                <a:lnTo>
                  <a:pt x="1747" y="216"/>
                </a:lnTo>
                <a:lnTo>
                  <a:pt x="1745" y="202"/>
                </a:lnTo>
                <a:lnTo>
                  <a:pt x="1742" y="190"/>
                </a:lnTo>
                <a:lnTo>
                  <a:pt x="1740" y="183"/>
                </a:lnTo>
                <a:lnTo>
                  <a:pt x="1737" y="177"/>
                </a:lnTo>
                <a:lnTo>
                  <a:pt x="1732" y="166"/>
                </a:lnTo>
                <a:lnTo>
                  <a:pt x="1728" y="160"/>
                </a:lnTo>
                <a:lnTo>
                  <a:pt x="1725" y="155"/>
                </a:lnTo>
                <a:lnTo>
                  <a:pt x="1717" y="144"/>
                </a:lnTo>
                <a:lnTo>
                  <a:pt x="1709" y="135"/>
                </a:lnTo>
                <a:lnTo>
                  <a:pt x="1704" y="131"/>
                </a:lnTo>
                <a:lnTo>
                  <a:pt x="1699" y="126"/>
                </a:lnTo>
                <a:lnTo>
                  <a:pt x="1689" y="119"/>
                </a:lnTo>
                <a:lnTo>
                  <a:pt x="1683" y="115"/>
                </a:lnTo>
                <a:lnTo>
                  <a:pt x="1677" y="112"/>
                </a:lnTo>
                <a:lnTo>
                  <a:pt x="1671" y="109"/>
                </a:lnTo>
                <a:lnTo>
                  <a:pt x="1665" y="106"/>
                </a:lnTo>
                <a:lnTo>
                  <a:pt x="1659" y="104"/>
                </a:lnTo>
                <a:lnTo>
                  <a:pt x="1653" y="102"/>
                </a:lnTo>
                <a:lnTo>
                  <a:pt x="1647" y="100"/>
                </a:lnTo>
                <a:lnTo>
                  <a:pt x="1640" y="99"/>
                </a:lnTo>
                <a:lnTo>
                  <a:pt x="1634" y="97"/>
                </a:lnTo>
                <a:lnTo>
                  <a:pt x="1627" y="97"/>
                </a:lnTo>
                <a:lnTo>
                  <a:pt x="1613" y="96"/>
                </a:lnTo>
                <a:lnTo>
                  <a:pt x="921" y="96"/>
                </a:lnTo>
                <a:lnTo>
                  <a:pt x="230" y="96"/>
                </a:lnTo>
                <a:close/>
                <a:moveTo>
                  <a:pt x="705" y="765"/>
                </a:moveTo>
                <a:lnTo>
                  <a:pt x="706" y="776"/>
                </a:lnTo>
                <a:lnTo>
                  <a:pt x="706" y="787"/>
                </a:lnTo>
                <a:lnTo>
                  <a:pt x="708" y="798"/>
                </a:lnTo>
                <a:lnTo>
                  <a:pt x="710" y="808"/>
                </a:lnTo>
                <a:lnTo>
                  <a:pt x="712" y="819"/>
                </a:lnTo>
                <a:lnTo>
                  <a:pt x="715" y="829"/>
                </a:lnTo>
                <a:lnTo>
                  <a:pt x="718" y="839"/>
                </a:lnTo>
                <a:lnTo>
                  <a:pt x="722" y="849"/>
                </a:lnTo>
                <a:lnTo>
                  <a:pt x="727" y="858"/>
                </a:lnTo>
                <a:lnTo>
                  <a:pt x="731" y="868"/>
                </a:lnTo>
                <a:lnTo>
                  <a:pt x="736" y="877"/>
                </a:lnTo>
                <a:lnTo>
                  <a:pt x="742" y="885"/>
                </a:lnTo>
                <a:lnTo>
                  <a:pt x="748" y="894"/>
                </a:lnTo>
                <a:lnTo>
                  <a:pt x="754" y="902"/>
                </a:lnTo>
                <a:lnTo>
                  <a:pt x="761" y="910"/>
                </a:lnTo>
                <a:lnTo>
                  <a:pt x="768" y="917"/>
                </a:lnTo>
                <a:lnTo>
                  <a:pt x="776" y="924"/>
                </a:lnTo>
                <a:lnTo>
                  <a:pt x="784" y="931"/>
                </a:lnTo>
                <a:lnTo>
                  <a:pt x="792" y="938"/>
                </a:lnTo>
                <a:lnTo>
                  <a:pt x="800" y="944"/>
                </a:lnTo>
                <a:lnTo>
                  <a:pt x="809" y="949"/>
                </a:lnTo>
                <a:lnTo>
                  <a:pt x="818" y="954"/>
                </a:lnTo>
                <a:lnTo>
                  <a:pt x="827" y="959"/>
                </a:lnTo>
                <a:lnTo>
                  <a:pt x="837" y="963"/>
                </a:lnTo>
                <a:lnTo>
                  <a:pt x="847" y="967"/>
                </a:lnTo>
                <a:lnTo>
                  <a:pt x="857" y="971"/>
                </a:lnTo>
                <a:lnTo>
                  <a:pt x="867" y="974"/>
                </a:lnTo>
                <a:lnTo>
                  <a:pt x="877" y="976"/>
                </a:lnTo>
                <a:lnTo>
                  <a:pt x="888" y="978"/>
                </a:lnTo>
                <a:lnTo>
                  <a:pt x="899" y="979"/>
                </a:lnTo>
                <a:lnTo>
                  <a:pt x="910" y="980"/>
                </a:lnTo>
                <a:lnTo>
                  <a:pt x="921" y="980"/>
                </a:lnTo>
                <a:lnTo>
                  <a:pt x="932" y="980"/>
                </a:lnTo>
                <a:lnTo>
                  <a:pt x="943" y="979"/>
                </a:lnTo>
                <a:lnTo>
                  <a:pt x="953" y="978"/>
                </a:lnTo>
                <a:lnTo>
                  <a:pt x="964" y="976"/>
                </a:lnTo>
                <a:lnTo>
                  <a:pt x="975" y="974"/>
                </a:lnTo>
                <a:lnTo>
                  <a:pt x="985" y="971"/>
                </a:lnTo>
                <a:lnTo>
                  <a:pt x="995" y="967"/>
                </a:lnTo>
                <a:lnTo>
                  <a:pt x="1005" y="963"/>
                </a:lnTo>
                <a:lnTo>
                  <a:pt x="1014" y="959"/>
                </a:lnTo>
                <a:lnTo>
                  <a:pt x="1023" y="954"/>
                </a:lnTo>
                <a:lnTo>
                  <a:pt x="1032" y="949"/>
                </a:lnTo>
                <a:lnTo>
                  <a:pt x="1041" y="944"/>
                </a:lnTo>
                <a:lnTo>
                  <a:pt x="1050" y="938"/>
                </a:lnTo>
                <a:lnTo>
                  <a:pt x="1058" y="931"/>
                </a:lnTo>
                <a:lnTo>
                  <a:pt x="1066" y="924"/>
                </a:lnTo>
                <a:lnTo>
                  <a:pt x="1073" y="917"/>
                </a:lnTo>
                <a:lnTo>
                  <a:pt x="1080" y="910"/>
                </a:lnTo>
                <a:lnTo>
                  <a:pt x="1087" y="902"/>
                </a:lnTo>
                <a:lnTo>
                  <a:pt x="1093" y="894"/>
                </a:lnTo>
                <a:lnTo>
                  <a:pt x="1099" y="885"/>
                </a:lnTo>
                <a:lnTo>
                  <a:pt x="1105" y="877"/>
                </a:lnTo>
                <a:lnTo>
                  <a:pt x="1110" y="868"/>
                </a:lnTo>
                <a:lnTo>
                  <a:pt x="1115" y="858"/>
                </a:lnTo>
                <a:lnTo>
                  <a:pt x="1119" y="849"/>
                </a:lnTo>
                <a:lnTo>
                  <a:pt x="1123" y="839"/>
                </a:lnTo>
                <a:lnTo>
                  <a:pt x="1126" y="829"/>
                </a:lnTo>
                <a:lnTo>
                  <a:pt x="1129" y="819"/>
                </a:lnTo>
                <a:lnTo>
                  <a:pt x="1132" y="808"/>
                </a:lnTo>
                <a:lnTo>
                  <a:pt x="1134" y="798"/>
                </a:lnTo>
                <a:lnTo>
                  <a:pt x="1135" y="787"/>
                </a:lnTo>
                <a:lnTo>
                  <a:pt x="1136" y="776"/>
                </a:lnTo>
                <a:lnTo>
                  <a:pt x="1136" y="765"/>
                </a:lnTo>
                <a:lnTo>
                  <a:pt x="1136" y="754"/>
                </a:lnTo>
                <a:lnTo>
                  <a:pt x="1135" y="742"/>
                </a:lnTo>
                <a:lnTo>
                  <a:pt x="1134" y="731"/>
                </a:lnTo>
                <a:lnTo>
                  <a:pt x="1132" y="721"/>
                </a:lnTo>
                <a:lnTo>
                  <a:pt x="1129" y="710"/>
                </a:lnTo>
                <a:lnTo>
                  <a:pt x="1126" y="700"/>
                </a:lnTo>
                <a:lnTo>
                  <a:pt x="1123" y="690"/>
                </a:lnTo>
                <a:lnTo>
                  <a:pt x="1119" y="680"/>
                </a:lnTo>
                <a:lnTo>
                  <a:pt x="1115" y="671"/>
                </a:lnTo>
                <a:lnTo>
                  <a:pt x="1110" y="661"/>
                </a:lnTo>
                <a:lnTo>
                  <a:pt x="1105" y="652"/>
                </a:lnTo>
                <a:lnTo>
                  <a:pt x="1099" y="644"/>
                </a:lnTo>
                <a:lnTo>
                  <a:pt x="1093" y="635"/>
                </a:lnTo>
                <a:lnTo>
                  <a:pt x="1087" y="627"/>
                </a:lnTo>
                <a:lnTo>
                  <a:pt x="1080" y="619"/>
                </a:lnTo>
                <a:lnTo>
                  <a:pt x="1073" y="612"/>
                </a:lnTo>
                <a:lnTo>
                  <a:pt x="1066" y="605"/>
                </a:lnTo>
                <a:lnTo>
                  <a:pt x="1058" y="598"/>
                </a:lnTo>
                <a:lnTo>
                  <a:pt x="1050" y="591"/>
                </a:lnTo>
                <a:lnTo>
                  <a:pt x="1041" y="585"/>
                </a:lnTo>
                <a:lnTo>
                  <a:pt x="1032" y="580"/>
                </a:lnTo>
                <a:lnTo>
                  <a:pt x="1023" y="575"/>
                </a:lnTo>
                <a:lnTo>
                  <a:pt x="1014" y="570"/>
                </a:lnTo>
                <a:lnTo>
                  <a:pt x="1005" y="565"/>
                </a:lnTo>
                <a:lnTo>
                  <a:pt x="995" y="562"/>
                </a:lnTo>
                <a:lnTo>
                  <a:pt x="985" y="558"/>
                </a:lnTo>
                <a:lnTo>
                  <a:pt x="975" y="555"/>
                </a:lnTo>
                <a:lnTo>
                  <a:pt x="964" y="553"/>
                </a:lnTo>
                <a:lnTo>
                  <a:pt x="953" y="551"/>
                </a:lnTo>
                <a:lnTo>
                  <a:pt x="943" y="550"/>
                </a:lnTo>
                <a:lnTo>
                  <a:pt x="932" y="549"/>
                </a:lnTo>
                <a:lnTo>
                  <a:pt x="921" y="549"/>
                </a:lnTo>
                <a:lnTo>
                  <a:pt x="910" y="549"/>
                </a:lnTo>
                <a:lnTo>
                  <a:pt x="899" y="550"/>
                </a:lnTo>
                <a:lnTo>
                  <a:pt x="888" y="551"/>
                </a:lnTo>
                <a:lnTo>
                  <a:pt x="877" y="553"/>
                </a:lnTo>
                <a:lnTo>
                  <a:pt x="867" y="555"/>
                </a:lnTo>
                <a:lnTo>
                  <a:pt x="857" y="558"/>
                </a:lnTo>
                <a:lnTo>
                  <a:pt x="847" y="562"/>
                </a:lnTo>
                <a:lnTo>
                  <a:pt x="837" y="565"/>
                </a:lnTo>
                <a:lnTo>
                  <a:pt x="827" y="570"/>
                </a:lnTo>
                <a:lnTo>
                  <a:pt x="818" y="575"/>
                </a:lnTo>
                <a:lnTo>
                  <a:pt x="809" y="580"/>
                </a:lnTo>
                <a:lnTo>
                  <a:pt x="800" y="585"/>
                </a:lnTo>
                <a:lnTo>
                  <a:pt x="792" y="591"/>
                </a:lnTo>
                <a:lnTo>
                  <a:pt x="784" y="598"/>
                </a:lnTo>
                <a:lnTo>
                  <a:pt x="776" y="605"/>
                </a:lnTo>
                <a:lnTo>
                  <a:pt x="768" y="612"/>
                </a:lnTo>
                <a:lnTo>
                  <a:pt x="761" y="619"/>
                </a:lnTo>
                <a:lnTo>
                  <a:pt x="754" y="627"/>
                </a:lnTo>
                <a:lnTo>
                  <a:pt x="748" y="635"/>
                </a:lnTo>
                <a:lnTo>
                  <a:pt x="742" y="644"/>
                </a:lnTo>
                <a:lnTo>
                  <a:pt x="736" y="652"/>
                </a:lnTo>
                <a:lnTo>
                  <a:pt x="731" y="661"/>
                </a:lnTo>
                <a:lnTo>
                  <a:pt x="727" y="671"/>
                </a:lnTo>
                <a:lnTo>
                  <a:pt x="722" y="680"/>
                </a:lnTo>
                <a:lnTo>
                  <a:pt x="718" y="690"/>
                </a:lnTo>
                <a:lnTo>
                  <a:pt x="715" y="700"/>
                </a:lnTo>
                <a:lnTo>
                  <a:pt x="712" y="710"/>
                </a:lnTo>
                <a:lnTo>
                  <a:pt x="710" y="721"/>
                </a:lnTo>
                <a:lnTo>
                  <a:pt x="708" y="731"/>
                </a:lnTo>
                <a:lnTo>
                  <a:pt x="706" y="742"/>
                </a:lnTo>
                <a:lnTo>
                  <a:pt x="706" y="754"/>
                </a:lnTo>
                <a:lnTo>
                  <a:pt x="705" y="765"/>
                </a:lnTo>
                <a:close/>
                <a:moveTo>
                  <a:pt x="921" y="401"/>
                </a:moveTo>
                <a:lnTo>
                  <a:pt x="940" y="401"/>
                </a:lnTo>
                <a:lnTo>
                  <a:pt x="959" y="403"/>
                </a:lnTo>
                <a:lnTo>
                  <a:pt x="977" y="405"/>
                </a:lnTo>
                <a:lnTo>
                  <a:pt x="995" y="408"/>
                </a:lnTo>
                <a:lnTo>
                  <a:pt x="1013" y="412"/>
                </a:lnTo>
                <a:lnTo>
                  <a:pt x="1031" y="417"/>
                </a:lnTo>
                <a:lnTo>
                  <a:pt x="1048" y="423"/>
                </a:lnTo>
                <a:lnTo>
                  <a:pt x="1065" y="430"/>
                </a:lnTo>
                <a:lnTo>
                  <a:pt x="1081" y="437"/>
                </a:lnTo>
                <a:lnTo>
                  <a:pt x="1097" y="445"/>
                </a:lnTo>
                <a:lnTo>
                  <a:pt x="1113" y="454"/>
                </a:lnTo>
                <a:lnTo>
                  <a:pt x="1128" y="463"/>
                </a:lnTo>
                <a:lnTo>
                  <a:pt x="1143" y="473"/>
                </a:lnTo>
                <a:lnTo>
                  <a:pt x="1157" y="484"/>
                </a:lnTo>
                <a:lnTo>
                  <a:pt x="1170" y="495"/>
                </a:lnTo>
                <a:lnTo>
                  <a:pt x="1183" y="508"/>
                </a:lnTo>
                <a:lnTo>
                  <a:pt x="1196" y="520"/>
                </a:lnTo>
                <a:lnTo>
                  <a:pt x="1207" y="534"/>
                </a:lnTo>
                <a:lnTo>
                  <a:pt x="1218" y="548"/>
                </a:lnTo>
                <a:lnTo>
                  <a:pt x="1229" y="563"/>
                </a:lnTo>
                <a:lnTo>
                  <a:pt x="1239" y="578"/>
                </a:lnTo>
                <a:lnTo>
                  <a:pt x="1247" y="593"/>
                </a:lnTo>
                <a:lnTo>
                  <a:pt x="1256" y="609"/>
                </a:lnTo>
                <a:lnTo>
                  <a:pt x="1263" y="626"/>
                </a:lnTo>
                <a:lnTo>
                  <a:pt x="1270" y="643"/>
                </a:lnTo>
                <a:lnTo>
                  <a:pt x="1275" y="660"/>
                </a:lnTo>
                <a:lnTo>
                  <a:pt x="1280" y="677"/>
                </a:lnTo>
                <a:lnTo>
                  <a:pt x="1283" y="686"/>
                </a:lnTo>
                <a:lnTo>
                  <a:pt x="1285" y="695"/>
                </a:lnTo>
                <a:lnTo>
                  <a:pt x="1288" y="714"/>
                </a:lnTo>
                <a:lnTo>
                  <a:pt x="1290" y="732"/>
                </a:lnTo>
                <a:lnTo>
                  <a:pt x="1292" y="752"/>
                </a:lnTo>
                <a:lnTo>
                  <a:pt x="1292" y="771"/>
                </a:lnTo>
                <a:lnTo>
                  <a:pt x="1292" y="787"/>
                </a:lnTo>
                <a:lnTo>
                  <a:pt x="1291" y="803"/>
                </a:lnTo>
                <a:lnTo>
                  <a:pt x="1289" y="818"/>
                </a:lnTo>
                <a:lnTo>
                  <a:pt x="1286" y="833"/>
                </a:lnTo>
                <a:lnTo>
                  <a:pt x="1283" y="848"/>
                </a:lnTo>
                <a:lnTo>
                  <a:pt x="1280" y="863"/>
                </a:lnTo>
                <a:lnTo>
                  <a:pt x="1276" y="878"/>
                </a:lnTo>
                <a:lnTo>
                  <a:pt x="1272" y="892"/>
                </a:lnTo>
                <a:lnTo>
                  <a:pt x="1267" y="906"/>
                </a:lnTo>
                <a:lnTo>
                  <a:pt x="1261" y="919"/>
                </a:lnTo>
                <a:lnTo>
                  <a:pt x="1255" y="933"/>
                </a:lnTo>
                <a:lnTo>
                  <a:pt x="1252" y="939"/>
                </a:lnTo>
                <a:lnTo>
                  <a:pt x="1248" y="946"/>
                </a:lnTo>
                <a:lnTo>
                  <a:pt x="1241" y="959"/>
                </a:lnTo>
                <a:lnTo>
                  <a:pt x="1233" y="971"/>
                </a:lnTo>
                <a:lnTo>
                  <a:pt x="1225" y="983"/>
                </a:lnTo>
                <a:lnTo>
                  <a:pt x="1221" y="989"/>
                </a:lnTo>
                <a:lnTo>
                  <a:pt x="1216" y="995"/>
                </a:lnTo>
                <a:lnTo>
                  <a:pt x="1214" y="999"/>
                </a:lnTo>
                <a:lnTo>
                  <a:pt x="941" y="1411"/>
                </a:lnTo>
                <a:lnTo>
                  <a:pt x="921" y="1442"/>
                </a:lnTo>
                <a:lnTo>
                  <a:pt x="900" y="1411"/>
                </a:lnTo>
                <a:lnTo>
                  <a:pt x="627" y="999"/>
                </a:lnTo>
                <a:lnTo>
                  <a:pt x="625" y="995"/>
                </a:lnTo>
                <a:lnTo>
                  <a:pt x="617" y="983"/>
                </a:lnTo>
                <a:lnTo>
                  <a:pt x="609" y="971"/>
                </a:lnTo>
                <a:lnTo>
                  <a:pt x="602" y="959"/>
                </a:lnTo>
                <a:lnTo>
                  <a:pt x="594" y="946"/>
                </a:lnTo>
                <a:lnTo>
                  <a:pt x="588" y="933"/>
                </a:lnTo>
                <a:lnTo>
                  <a:pt x="581" y="919"/>
                </a:lnTo>
                <a:lnTo>
                  <a:pt x="575" y="906"/>
                </a:lnTo>
                <a:lnTo>
                  <a:pt x="570" y="892"/>
                </a:lnTo>
                <a:lnTo>
                  <a:pt x="566" y="878"/>
                </a:lnTo>
                <a:lnTo>
                  <a:pt x="562" y="863"/>
                </a:lnTo>
                <a:lnTo>
                  <a:pt x="559" y="848"/>
                </a:lnTo>
                <a:lnTo>
                  <a:pt x="556" y="833"/>
                </a:lnTo>
                <a:lnTo>
                  <a:pt x="554" y="818"/>
                </a:lnTo>
                <a:lnTo>
                  <a:pt x="553" y="803"/>
                </a:lnTo>
                <a:lnTo>
                  <a:pt x="552" y="795"/>
                </a:lnTo>
                <a:lnTo>
                  <a:pt x="552" y="787"/>
                </a:lnTo>
                <a:lnTo>
                  <a:pt x="551" y="771"/>
                </a:lnTo>
                <a:lnTo>
                  <a:pt x="552" y="752"/>
                </a:lnTo>
                <a:lnTo>
                  <a:pt x="553" y="732"/>
                </a:lnTo>
                <a:lnTo>
                  <a:pt x="556" y="714"/>
                </a:lnTo>
                <a:lnTo>
                  <a:pt x="559" y="695"/>
                </a:lnTo>
                <a:lnTo>
                  <a:pt x="563" y="677"/>
                </a:lnTo>
                <a:lnTo>
                  <a:pt x="568" y="660"/>
                </a:lnTo>
                <a:lnTo>
                  <a:pt x="574" y="643"/>
                </a:lnTo>
                <a:lnTo>
                  <a:pt x="580" y="626"/>
                </a:lnTo>
                <a:lnTo>
                  <a:pt x="588" y="609"/>
                </a:lnTo>
                <a:lnTo>
                  <a:pt x="592" y="601"/>
                </a:lnTo>
                <a:lnTo>
                  <a:pt x="596" y="593"/>
                </a:lnTo>
                <a:lnTo>
                  <a:pt x="600" y="585"/>
                </a:lnTo>
                <a:lnTo>
                  <a:pt x="605" y="578"/>
                </a:lnTo>
                <a:lnTo>
                  <a:pt x="610" y="570"/>
                </a:lnTo>
                <a:lnTo>
                  <a:pt x="615" y="563"/>
                </a:lnTo>
                <a:lnTo>
                  <a:pt x="620" y="555"/>
                </a:lnTo>
                <a:lnTo>
                  <a:pt x="625" y="548"/>
                </a:lnTo>
                <a:lnTo>
                  <a:pt x="636" y="534"/>
                </a:lnTo>
                <a:lnTo>
                  <a:pt x="648" y="520"/>
                </a:lnTo>
                <a:lnTo>
                  <a:pt x="660" y="508"/>
                </a:lnTo>
                <a:lnTo>
                  <a:pt x="673" y="495"/>
                </a:lnTo>
                <a:lnTo>
                  <a:pt x="686" y="484"/>
                </a:lnTo>
                <a:lnTo>
                  <a:pt x="700" y="473"/>
                </a:lnTo>
                <a:lnTo>
                  <a:pt x="714" y="463"/>
                </a:lnTo>
                <a:lnTo>
                  <a:pt x="729" y="454"/>
                </a:lnTo>
                <a:lnTo>
                  <a:pt x="744" y="445"/>
                </a:lnTo>
                <a:lnTo>
                  <a:pt x="760" y="437"/>
                </a:lnTo>
                <a:lnTo>
                  <a:pt x="777" y="430"/>
                </a:lnTo>
                <a:lnTo>
                  <a:pt x="793" y="423"/>
                </a:lnTo>
                <a:lnTo>
                  <a:pt x="810" y="417"/>
                </a:lnTo>
                <a:lnTo>
                  <a:pt x="828" y="412"/>
                </a:lnTo>
                <a:lnTo>
                  <a:pt x="846" y="408"/>
                </a:lnTo>
                <a:lnTo>
                  <a:pt x="864" y="405"/>
                </a:lnTo>
                <a:lnTo>
                  <a:pt x="883" y="403"/>
                </a:lnTo>
                <a:lnTo>
                  <a:pt x="902" y="401"/>
                </a:lnTo>
                <a:lnTo>
                  <a:pt x="921" y="401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B4245"/>
              </a:solidFill>
              <a:latin typeface="Arial"/>
            </a:endParaRPr>
          </a:p>
        </p:txBody>
      </p:sp>
      <p:sp>
        <p:nvSpPr>
          <p:cNvPr id="53" name="Freeform 10"/>
          <p:cNvSpPr>
            <a:spLocks noChangeAspect="1" noEditPoints="1"/>
          </p:cNvSpPr>
          <p:nvPr/>
        </p:nvSpPr>
        <p:spPr bwMode="auto">
          <a:xfrm>
            <a:off x="6241939" y="5554030"/>
            <a:ext cx="359888" cy="360083"/>
          </a:xfrm>
          <a:custGeom>
            <a:avLst/>
            <a:gdLst>
              <a:gd name="T0" fmla="*/ 1713 w 1843"/>
              <a:gd name="T1" fmla="*/ 22 h 1844"/>
              <a:gd name="T2" fmla="*/ 1810 w 1843"/>
              <a:gd name="T3" fmla="*/ 110 h 1844"/>
              <a:gd name="T4" fmla="*/ 1843 w 1843"/>
              <a:gd name="T5" fmla="*/ 921 h 1844"/>
              <a:gd name="T6" fmla="*/ 1810 w 1843"/>
              <a:gd name="T7" fmla="*/ 1733 h 1844"/>
              <a:gd name="T8" fmla="*/ 1713 w 1843"/>
              <a:gd name="T9" fmla="*/ 1821 h 1844"/>
              <a:gd name="T10" fmla="*/ 218 w 1843"/>
              <a:gd name="T11" fmla="*/ 1844 h 1844"/>
              <a:gd name="T12" fmla="*/ 92 w 1843"/>
              <a:gd name="T13" fmla="*/ 1798 h 1844"/>
              <a:gd name="T14" fmla="*/ 14 w 1843"/>
              <a:gd name="T15" fmla="*/ 1693 h 1844"/>
              <a:gd name="T16" fmla="*/ 3 w 1843"/>
              <a:gd name="T17" fmla="*/ 195 h 1844"/>
              <a:gd name="T18" fmla="*/ 60 w 1843"/>
              <a:gd name="T19" fmla="*/ 75 h 1844"/>
              <a:gd name="T20" fmla="*/ 172 w 1843"/>
              <a:gd name="T21" fmla="*/ 7 h 1844"/>
              <a:gd name="T22" fmla="*/ 166 w 1843"/>
              <a:gd name="T23" fmla="*/ 112 h 1844"/>
              <a:gd name="T24" fmla="*/ 104 w 1843"/>
              <a:gd name="T25" fmla="*/ 184 h 1844"/>
              <a:gd name="T26" fmla="*/ 102 w 1843"/>
              <a:gd name="T27" fmla="*/ 1654 h 1844"/>
              <a:gd name="T28" fmla="*/ 166 w 1843"/>
              <a:gd name="T29" fmla="*/ 1732 h 1844"/>
              <a:gd name="T30" fmla="*/ 1627 w 1843"/>
              <a:gd name="T31" fmla="*/ 1747 h 1844"/>
              <a:gd name="T32" fmla="*/ 1724 w 1843"/>
              <a:gd name="T33" fmla="*/ 1689 h 1844"/>
              <a:gd name="T34" fmla="*/ 1747 w 1843"/>
              <a:gd name="T35" fmla="*/ 1613 h 1844"/>
              <a:gd name="T36" fmla="*/ 1708 w 1843"/>
              <a:gd name="T37" fmla="*/ 136 h 1844"/>
              <a:gd name="T38" fmla="*/ 1634 w 1843"/>
              <a:gd name="T39" fmla="*/ 97 h 1844"/>
              <a:gd name="T40" fmla="*/ 609 w 1843"/>
              <a:gd name="T41" fmla="*/ 657 h 1844"/>
              <a:gd name="T42" fmla="*/ 636 w 1843"/>
              <a:gd name="T43" fmla="*/ 610 h 1844"/>
              <a:gd name="T44" fmla="*/ 680 w 1843"/>
              <a:gd name="T45" fmla="*/ 617 h 1844"/>
              <a:gd name="T46" fmla="*/ 993 w 1843"/>
              <a:gd name="T47" fmla="*/ 756 h 1844"/>
              <a:gd name="T48" fmla="*/ 1077 w 1843"/>
              <a:gd name="T49" fmla="*/ 828 h 1844"/>
              <a:gd name="T50" fmla="*/ 1103 w 1843"/>
              <a:gd name="T51" fmla="*/ 930 h 1844"/>
              <a:gd name="T52" fmla="*/ 1056 w 1843"/>
              <a:gd name="T53" fmla="*/ 1041 h 1844"/>
              <a:gd name="T54" fmla="*/ 969 w 1843"/>
              <a:gd name="T55" fmla="*/ 1094 h 1844"/>
              <a:gd name="T56" fmla="*/ 855 w 1843"/>
              <a:gd name="T57" fmla="*/ 1085 h 1844"/>
              <a:gd name="T58" fmla="*/ 771 w 1843"/>
              <a:gd name="T59" fmla="*/ 1013 h 1844"/>
              <a:gd name="T60" fmla="*/ 745 w 1843"/>
              <a:gd name="T61" fmla="*/ 911 h 1844"/>
              <a:gd name="T62" fmla="*/ 792 w 1843"/>
              <a:gd name="T63" fmla="*/ 801 h 1844"/>
              <a:gd name="T64" fmla="*/ 879 w 1843"/>
              <a:gd name="T65" fmla="*/ 748 h 1844"/>
              <a:gd name="T66" fmla="*/ 1015 w 1843"/>
              <a:gd name="T67" fmla="*/ 871 h 1844"/>
              <a:gd name="T68" fmla="*/ 935 w 1843"/>
              <a:gd name="T69" fmla="*/ 817 h 1844"/>
              <a:gd name="T70" fmla="*/ 850 w 1843"/>
              <a:gd name="T71" fmla="*/ 847 h 1844"/>
              <a:gd name="T72" fmla="*/ 828 w 1843"/>
              <a:gd name="T73" fmla="*/ 961 h 1844"/>
              <a:gd name="T74" fmla="*/ 893 w 1843"/>
              <a:gd name="T75" fmla="*/ 1020 h 1844"/>
              <a:gd name="T76" fmla="*/ 986 w 1843"/>
              <a:gd name="T77" fmla="*/ 1004 h 1844"/>
              <a:gd name="T78" fmla="*/ 637 w 1843"/>
              <a:gd name="T79" fmla="*/ 963 h 1844"/>
              <a:gd name="T80" fmla="*/ 498 w 1843"/>
              <a:gd name="T81" fmla="*/ 933 h 1844"/>
              <a:gd name="T82" fmla="*/ 520 w 1843"/>
              <a:gd name="T83" fmla="*/ 881 h 1844"/>
              <a:gd name="T84" fmla="*/ 1334 w 1843"/>
              <a:gd name="T85" fmla="*/ 885 h 1844"/>
              <a:gd name="T86" fmla="*/ 1348 w 1843"/>
              <a:gd name="T87" fmla="*/ 937 h 1844"/>
              <a:gd name="T88" fmla="*/ 1151 w 1843"/>
              <a:gd name="T89" fmla="*/ 878 h 1844"/>
              <a:gd name="T90" fmla="*/ 886 w 1843"/>
              <a:gd name="T91" fmla="*/ 514 h 1844"/>
              <a:gd name="T92" fmla="*/ 941 w 1843"/>
              <a:gd name="T93" fmla="*/ 497 h 1844"/>
              <a:gd name="T94" fmla="*/ 881 w 1843"/>
              <a:gd name="T95" fmla="*/ 1207 h 1844"/>
              <a:gd name="T96" fmla="*/ 954 w 1843"/>
              <a:gd name="T97" fmla="*/ 1336 h 1844"/>
              <a:gd name="T98" fmla="*/ 894 w 1843"/>
              <a:gd name="T99" fmla="*/ 1336 h 1844"/>
              <a:gd name="T100" fmla="*/ 1233 w 1843"/>
              <a:gd name="T101" fmla="*/ 1171 h 1844"/>
              <a:gd name="T102" fmla="*/ 1226 w 1843"/>
              <a:gd name="T103" fmla="*/ 1222 h 1844"/>
              <a:gd name="T104" fmla="*/ 1181 w 1843"/>
              <a:gd name="T105" fmla="*/ 1233 h 1844"/>
              <a:gd name="T106" fmla="*/ 1096 w 1843"/>
              <a:gd name="T107" fmla="*/ 690 h 1844"/>
              <a:gd name="T108" fmla="*/ 1212 w 1843"/>
              <a:gd name="T109" fmla="*/ 611 h 1844"/>
              <a:gd name="T110" fmla="*/ 1239 w 1843"/>
              <a:gd name="T111" fmla="*/ 653 h 1844"/>
              <a:gd name="T112" fmla="*/ 752 w 1843"/>
              <a:gd name="T113" fmla="*/ 1152 h 1844"/>
              <a:gd name="T114" fmla="*/ 636 w 1843"/>
              <a:gd name="T115" fmla="*/ 1231 h 1844"/>
              <a:gd name="T116" fmla="*/ 609 w 1843"/>
              <a:gd name="T117" fmla="*/ 1188 h 18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843" h="1844">
                <a:moveTo>
                  <a:pt x="230" y="0"/>
                </a:moveTo>
                <a:lnTo>
                  <a:pt x="922" y="0"/>
                </a:lnTo>
                <a:lnTo>
                  <a:pt x="1614" y="0"/>
                </a:lnTo>
                <a:lnTo>
                  <a:pt x="1626" y="0"/>
                </a:lnTo>
                <a:lnTo>
                  <a:pt x="1637" y="1"/>
                </a:lnTo>
                <a:lnTo>
                  <a:pt x="1649" y="2"/>
                </a:lnTo>
                <a:lnTo>
                  <a:pt x="1660" y="4"/>
                </a:lnTo>
                <a:lnTo>
                  <a:pt x="1671" y="7"/>
                </a:lnTo>
                <a:lnTo>
                  <a:pt x="1682" y="10"/>
                </a:lnTo>
                <a:lnTo>
                  <a:pt x="1693" y="14"/>
                </a:lnTo>
                <a:lnTo>
                  <a:pt x="1703" y="18"/>
                </a:lnTo>
                <a:lnTo>
                  <a:pt x="1713" y="22"/>
                </a:lnTo>
                <a:lnTo>
                  <a:pt x="1723" y="27"/>
                </a:lnTo>
                <a:lnTo>
                  <a:pt x="1733" y="33"/>
                </a:lnTo>
                <a:lnTo>
                  <a:pt x="1742" y="39"/>
                </a:lnTo>
                <a:lnTo>
                  <a:pt x="1751" y="45"/>
                </a:lnTo>
                <a:lnTo>
                  <a:pt x="1760" y="52"/>
                </a:lnTo>
                <a:lnTo>
                  <a:pt x="1768" y="59"/>
                </a:lnTo>
                <a:lnTo>
                  <a:pt x="1776" y="67"/>
                </a:lnTo>
                <a:lnTo>
                  <a:pt x="1784" y="75"/>
                </a:lnTo>
                <a:lnTo>
                  <a:pt x="1791" y="83"/>
                </a:lnTo>
                <a:lnTo>
                  <a:pt x="1798" y="92"/>
                </a:lnTo>
                <a:lnTo>
                  <a:pt x="1804" y="101"/>
                </a:lnTo>
                <a:lnTo>
                  <a:pt x="1810" y="110"/>
                </a:lnTo>
                <a:lnTo>
                  <a:pt x="1816" y="120"/>
                </a:lnTo>
                <a:lnTo>
                  <a:pt x="1821" y="131"/>
                </a:lnTo>
                <a:lnTo>
                  <a:pt x="1825" y="141"/>
                </a:lnTo>
                <a:lnTo>
                  <a:pt x="1829" y="151"/>
                </a:lnTo>
                <a:lnTo>
                  <a:pt x="1833" y="162"/>
                </a:lnTo>
                <a:lnTo>
                  <a:pt x="1836" y="173"/>
                </a:lnTo>
                <a:lnTo>
                  <a:pt x="1839" y="184"/>
                </a:lnTo>
                <a:lnTo>
                  <a:pt x="1841" y="195"/>
                </a:lnTo>
                <a:lnTo>
                  <a:pt x="1842" y="207"/>
                </a:lnTo>
                <a:lnTo>
                  <a:pt x="1843" y="218"/>
                </a:lnTo>
                <a:lnTo>
                  <a:pt x="1843" y="230"/>
                </a:lnTo>
                <a:lnTo>
                  <a:pt x="1843" y="921"/>
                </a:lnTo>
                <a:lnTo>
                  <a:pt x="1843" y="1613"/>
                </a:lnTo>
                <a:lnTo>
                  <a:pt x="1843" y="1625"/>
                </a:lnTo>
                <a:lnTo>
                  <a:pt x="1842" y="1638"/>
                </a:lnTo>
                <a:lnTo>
                  <a:pt x="1841" y="1649"/>
                </a:lnTo>
                <a:lnTo>
                  <a:pt x="1839" y="1661"/>
                </a:lnTo>
                <a:lnTo>
                  <a:pt x="1836" y="1672"/>
                </a:lnTo>
                <a:lnTo>
                  <a:pt x="1833" y="1683"/>
                </a:lnTo>
                <a:lnTo>
                  <a:pt x="1829" y="1693"/>
                </a:lnTo>
                <a:lnTo>
                  <a:pt x="1825" y="1704"/>
                </a:lnTo>
                <a:lnTo>
                  <a:pt x="1821" y="1714"/>
                </a:lnTo>
                <a:lnTo>
                  <a:pt x="1816" y="1724"/>
                </a:lnTo>
                <a:lnTo>
                  <a:pt x="1810" y="1733"/>
                </a:lnTo>
                <a:lnTo>
                  <a:pt x="1804" y="1743"/>
                </a:lnTo>
                <a:lnTo>
                  <a:pt x="1798" y="1752"/>
                </a:lnTo>
                <a:lnTo>
                  <a:pt x="1791" y="1760"/>
                </a:lnTo>
                <a:lnTo>
                  <a:pt x="1784" y="1769"/>
                </a:lnTo>
                <a:lnTo>
                  <a:pt x="1776" y="1777"/>
                </a:lnTo>
                <a:lnTo>
                  <a:pt x="1768" y="1784"/>
                </a:lnTo>
                <a:lnTo>
                  <a:pt x="1760" y="1791"/>
                </a:lnTo>
                <a:lnTo>
                  <a:pt x="1751" y="1798"/>
                </a:lnTo>
                <a:lnTo>
                  <a:pt x="1742" y="1805"/>
                </a:lnTo>
                <a:lnTo>
                  <a:pt x="1733" y="1811"/>
                </a:lnTo>
                <a:lnTo>
                  <a:pt x="1723" y="1816"/>
                </a:lnTo>
                <a:lnTo>
                  <a:pt x="1713" y="1821"/>
                </a:lnTo>
                <a:lnTo>
                  <a:pt x="1703" y="1826"/>
                </a:lnTo>
                <a:lnTo>
                  <a:pt x="1693" y="1830"/>
                </a:lnTo>
                <a:lnTo>
                  <a:pt x="1682" y="1834"/>
                </a:lnTo>
                <a:lnTo>
                  <a:pt x="1671" y="1837"/>
                </a:lnTo>
                <a:lnTo>
                  <a:pt x="1660" y="1839"/>
                </a:lnTo>
                <a:lnTo>
                  <a:pt x="1649" y="1841"/>
                </a:lnTo>
                <a:lnTo>
                  <a:pt x="1637" y="1843"/>
                </a:lnTo>
                <a:lnTo>
                  <a:pt x="1626" y="1844"/>
                </a:lnTo>
                <a:lnTo>
                  <a:pt x="1614" y="1844"/>
                </a:lnTo>
                <a:lnTo>
                  <a:pt x="922" y="1844"/>
                </a:lnTo>
                <a:lnTo>
                  <a:pt x="230" y="1844"/>
                </a:lnTo>
                <a:lnTo>
                  <a:pt x="218" y="1844"/>
                </a:lnTo>
                <a:lnTo>
                  <a:pt x="206" y="1843"/>
                </a:lnTo>
                <a:lnTo>
                  <a:pt x="195" y="1841"/>
                </a:lnTo>
                <a:lnTo>
                  <a:pt x="183" y="1839"/>
                </a:lnTo>
                <a:lnTo>
                  <a:pt x="172" y="1837"/>
                </a:lnTo>
                <a:lnTo>
                  <a:pt x="161" y="1834"/>
                </a:lnTo>
                <a:lnTo>
                  <a:pt x="151" y="1830"/>
                </a:lnTo>
                <a:lnTo>
                  <a:pt x="140" y="1826"/>
                </a:lnTo>
                <a:lnTo>
                  <a:pt x="130" y="1821"/>
                </a:lnTo>
                <a:lnTo>
                  <a:pt x="120" y="1816"/>
                </a:lnTo>
                <a:lnTo>
                  <a:pt x="111" y="1811"/>
                </a:lnTo>
                <a:lnTo>
                  <a:pt x="101" y="1805"/>
                </a:lnTo>
                <a:lnTo>
                  <a:pt x="92" y="1798"/>
                </a:lnTo>
                <a:lnTo>
                  <a:pt x="84" y="1791"/>
                </a:lnTo>
                <a:lnTo>
                  <a:pt x="75" y="1784"/>
                </a:lnTo>
                <a:lnTo>
                  <a:pt x="67" y="1777"/>
                </a:lnTo>
                <a:lnTo>
                  <a:pt x="60" y="1769"/>
                </a:lnTo>
                <a:lnTo>
                  <a:pt x="53" y="1760"/>
                </a:lnTo>
                <a:lnTo>
                  <a:pt x="46" y="1752"/>
                </a:lnTo>
                <a:lnTo>
                  <a:pt x="39" y="1743"/>
                </a:lnTo>
                <a:lnTo>
                  <a:pt x="33" y="1733"/>
                </a:lnTo>
                <a:lnTo>
                  <a:pt x="28" y="1724"/>
                </a:lnTo>
                <a:lnTo>
                  <a:pt x="23" y="1714"/>
                </a:lnTo>
                <a:lnTo>
                  <a:pt x="18" y="1704"/>
                </a:lnTo>
                <a:lnTo>
                  <a:pt x="14" y="1693"/>
                </a:lnTo>
                <a:lnTo>
                  <a:pt x="10" y="1683"/>
                </a:lnTo>
                <a:lnTo>
                  <a:pt x="7" y="1672"/>
                </a:lnTo>
                <a:lnTo>
                  <a:pt x="5" y="1661"/>
                </a:lnTo>
                <a:lnTo>
                  <a:pt x="3" y="1649"/>
                </a:lnTo>
                <a:lnTo>
                  <a:pt x="1" y="1638"/>
                </a:lnTo>
                <a:lnTo>
                  <a:pt x="0" y="1625"/>
                </a:lnTo>
                <a:lnTo>
                  <a:pt x="0" y="1613"/>
                </a:lnTo>
                <a:lnTo>
                  <a:pt x="0" y="921"/>
                </a:lnTo>
                <a:lnTo>
                  <a:pt x="0" y="230"/>
                </a:lnTo>
                <a:lnTo>
                  <a:pt x="0" y="218"/>
                </a:lnTo>
                <a:lnTo>
                  <a:pt x="1" y="207"/>
                </a:lnTo>
                <a:lnTo>
                  <a:pt x="3" y="195"/>
                </a:lnTo>
                <a:lnTo>
                  <a:pt x="5" y="184"/>
                </a:lnTo>
                <a:lnTo>
                  <a:pt x="7" y="173"/>
                </a:lnTo>
                <a:lnTo>
                  <a:pt x="10" y="162"/>
                </a:lnTo>
                <a:lnTo>
                  <a:pt x="14" y="151"/>
                </a:lnTo>
                <a:lnTo>
                  <a:pt x="18" y="141"/>
                </a:lnTo>
                <a:lnTo>
                  <a:pt x="23" y="131"/>
                </a:lnTo>
                <a:lnTo>
                  <a:pt x="28" y="120"/>
                </a:lnTo>
                <a:lnTo>
                  <a:pt x="33" y="110"/>
                </a:lnTo>
                <a:lnTo>
                  <a:pt x="39" y="101"/>
                </a:lnTo>
                <a:lnTo>
                  <a:pt x="46" y="92"/>
                </a:lnTo>
                <a:lnTo>
                  <a:pt x="53" y="83"/>
                </a:lnTo>
                <a:lnTo>
                  <a:pt x="60" y="75"/>
                </a:lnTo>
                <a:lnTo>
                  <a:pt x="67" y="67"/>
                </a:lnTo>
                <a:lnTo>
                  <a:pt x="75" y="59"/>
                </a:lnTo>
                <a:lnTo>
                  <a:pt x="84" y="52"/>
                </a:lnTo>
                <a:lnTo>
                  <a:pt x="92" y="45"/>
                </a:lnTo>
                <a:lnTo>
                  <a:pt x="101" y="39"/>
                </a:lnTo>
                <a:lnTo>
                  <a:pt x="111" y="33"/>
                </a:lnTo>
                <a:lnTo>
                  <a:pt x="120" y="27"/>
                </a:lnTo>
                <a:lnTo>
                  <a:pt x="130" y="22"/>
                </a:lnTo>
                <a:lnTo>
                  <a:pt x="140" y="18"/>
                </a:lnTo>
                <a:lnTo>
                  <a:pt x="151" y="14"/>
                </a:lnTo>
                <a:lnTo>
                  <a:pt x="161" y="10"/>
                </a:lnTo>
                <a:lnTo>
                  <a:pt x="172" y="7"/>
                </a:lnTo>
                <a:lnTo>
                  <a:pt x="183" y="4"/>
                </a:lnTo>
                <a:lnTo>
                  <a:pt x="195" y="2"/>
                </a:lnTo>
                <a:lnTo>
                  <a:pt x="206" y="1"/>
                </a:lnTo>
                <a:lnTo>
                  <a:pt x="218" y="0"/>
                </a:lnTo>
                <a:lnTo>
                  <a:pt x="230" y="0"/>
                </a:lnTo>
                <a:close/>
                <a:moveTo>
                  <a:pt x="230" y="96"/>
                </a:moveTo>
                <a:lnTo>
                  <a:pt x="216" y="96"/>
                </a:lnTo>
                <a:lnTo>
                  <a:pt x="203" y="98"/>
                </a:lnTo>
                <a:lnTo>
                  <a:pt x="190" y="102"/>
                </a:lnTo>
                <a:lnTo>
                  <a:pt x="184" y="104"/>
                </a:lnTo>
                <a:lnTo>
                  <a:pt x="178" y="106"/>
                </a:lnTo>
                <a:lnTo>
                  <a:pt x="166" y="112"/>
                </a:lnTo>
                <a:lnTo>
                  <a:pt x="160" y="115"/>
                </a:lnTo>
                <a:lnTo>
                  <a:pt x="155" y="118"/>
                </a:lnTo>
                <a:lnTo>
                  <a:pt x="145" y="127"/>
                </a:lnTo>
                <a:lnTo>
                  <a:pt x="135" y="136"/>
                </a:lnTo>
                <a:lnTo>
                  <a:pt x="131" y="140"/>
                </a:lnTo>
                <a:lnTo>
                  <a:pt x="127" y="145"/>
                </a:lnTo>
                <a:lnTo>
                  <a:pt x="119" y="156"/>
                </a:lnTo>
                <a:lnTo>
                  <a:pt x="115" y="161"/>
                </a:lnTo>
                <a:lnTo>
                  <a:pt x="112" y="167"/>
                </a:lnTo>
                <a:lnTo>
                  <a:pt x="109" y="172"/>
                </a:lnTo>
                <a:lnTo>
                  <a:pt x="107" y="178"/>
                </a:lnTo>
                <a:lnTo>
                  <a:pt x="104" y="184"/>
                </a:lnTo>
                <a:lnTo>
                  <a:pt x="102" y="190"/>
                </a:lnTo>
                <a:lnTo>
                  <a:pt x="100" y="197"/>
                </a:lnTo>
                <a:lnTo>
                  <a:pt x="99" y="203"/>
                </a:lnTo>
                <a:lnTo>
                  <a:pt x="98" y="210"/>
                </a:lnTo>
                <a:lnTo>
                  <a:pt x="97" y="216"/>
                </a:lnTo>
                <a:lnTo>
                  <a:pt x="96" y="223"/>
                </a:lnTo>
                <a:lnTo>
                  <a:pt x="96" y="230"/>
                </a:lnTo>
                <a:lnTo>
                  <a:pt x="96" y="921"/>
                </a:lnTo>
                <a:lnTo>
                  <a:pt x="96" y="1613"/>
                </a:lnTo>
                <a:lnTo>
                  <a:pt x="97" y="1627"/>
                </a:lnTo>
                <a:lnTo>
                  <a:pt x="99" y="1641"/>
                </a:lnTo>
                <a:lnTo>
                  <a:pt x="102" y="1654"/>
                </a:lnTo>
                <a:lnTo>
                  <a:pt x="104" y="1660"/>
                </a:lnTo>
                <a:lnTo>
                  <a:pt x="107" y="1666"/>
                </a:lnTo>
                <a:lnTo>
                  <a:pt x="112" y="1678"/>
                </a:lnTo>
                <a:lnTo>
                  <a:pt x="115" y="1684"/>
                </a:lnTo>
                <a:lnTo>
                  <a:pt x="119" y="1689"/>
                </a:lnTo>
                <a:lnTo>
                  <a:pt x="127" y="1699"/>
                </a:lnTo>
                <a:lnTo>
                  <a:pt x="135" y="1709"/>
                </a:lnTo>
                <a:lnTo>
                  <a:pt x="140" y="1713"/>
                </a:lnTo>
                <a:lnTo>
                  <a:pt x="145" y="1717"/>
                </a:lnTo>
                <a:lnTo>
                  <a:pt x="155" y="1725"/>
                </a:lnTo>
                <a:lnTo>
                  <a:pt x="160" y="1729"/>
                </a:lnTo>
                <a:lnTo>
                  <a:pt x="166" y="1732"/>
                </a:lnTo>
                <a:lnTo>
                  <a:pt x="172" y="1735"/>
                </a:lnTo>
                <a:lnTo>
                  <a:pt x="178" y="1737"/>
                </a:lnTo>
                <a:lnTo>
                  <a:pt x="184" y="1740"/>
                </a:lnTo>
                <a:lnTo>
                  <a:pt x="190" y="1742"/>
                </a:lnTo>
                <a:lnTo>
                  <a:pt x="196" y="1744"/>
                </a:lnTo>
                <a:lnTo>
                  <a:pt x="203" y="1745"/>
                </a:lnTo>
                <a:lnTo>
                  <a:pt x="209" y="1746"/>
                </a:lnTo>
                <a:lnTo>
                  <a:pt x="216" y="1747"/>
                </a:lnTo>
                <a:lnTo>
                  <a:pt x="230" y="1748"/>
                </a:lnTo>
                <a:lnTo>
                  <a:pt x="922" y="1748"/>
                </a:lnTo>
                <a:lnTo>
                  <a:pt x="1614" y="1748"/>
                </a:lnTo>
                <a:lnTo>
                  <a:pt x="1627" y="1747"/>
                </a:lnTo>
                <a:lnTo>
                  <a:pt x="1641" y="1745"/>
                </a:lnTo>
                <a:lnTo>
                  <a:pt x="1654" y="1742"/>
                </a:lnTo>
                <a:lnTo>
                  <a:pt x="1660" y="1740"/>
                </a:lnTo>
                <a:lnTo>
                  <a:pt x="1666" y="1737"/>
                </a:lnTo>
                <a:lnTo>
                  <a:pt x="1677" y="1732"/>
                </a:lnTo>
                <a:lnTo>
                  <a:pt x="1683" y="1729"/>
                </a:lnTo>
                <a:lnTo>
                  <a:pt x="1688" y="1725"/>
                </a:lnTo>
                <a:lnTo>
                  <a:pt x="1699" y="1717"/>
                </a:lnTo>
                <a:lnTo>
                  <a:pt x="1708" y="1709"/>
                </a:lnTo>
                <a:lnTo>
                  <a:pt x="1713" y="1704"/>
                </a:lnTo>
                <a:lnTo>
                  <a:pt x="1717" y="1699"/>
                </a:lnTo>
                <a:lnTo>
                  <a:pt x="1724" y="1689"/>
                </a:lnTo>
                <a:lnTo>
                  <a:pt x="1728" y="1684"/>
                </a:lnTo>
                <a:lnTo>
                  <a:pt x="1731" y="1678"/>
                </a:lnTo>
                <a:lnTo>
                  <a:pt x="1734" y="1672"/>
                </a:lnTo>
                <a:lnTo>
                  <a:pt x="1737" y="1666"/>
                </a:lnTo>
                <a:lnTo>
                  <a:pt x="1739" y="1660"/>
                </a:lnTo>
                <a:lnTo>
                  <a:pt x="1741" y="1654"/>
                </a:lnTo>
                <a:lnTo>
                  <a:pt x="1743" y="1648"/>
                </a:lnTo>
                <a:lnTo>
                  <a:pt x="1745" y="1641"/>
                </a:lnTo>
                <a:lnTo>
                  <a:pt x="1746" y="1635"/>
                </a:lnTo>
                <a:lnTo>
                  <a:pt x="1747" y="1627"/>
                </a:lnTo>
                <a:lnTo>
                  <a:pt x="1747" y="1620"/>
                </a:lnTo>
                <a:lnTo>
                  <a:pt x="1747" y="1613"/>
                </a:lnTo>
                <a:lnTo>
                  <a:pt x="1747" y="921"/>
                </a:lnTo>
                <a:lnTo>
                  <a:pt x="1747" y="230"/>
                </a:lnTo>
                <a:lnTo>
                  <a:pt x="1747" y="216"/>
                </a:lnTo>
                <a:lnTo>
                  <a:pt x="1745" y="203"/>
                </a:lnTo>
                <a:lnTo>
                  <a:pt x="1741" y="190"/>
                </a:lnTo>
                <a:lnTo>
                  <a:pt x="1739" y="184"/>
                </a:lnTo>
                <a:lnTo>
                  <a:pt x="1737" y="178"/>
                </a:lnTo>
                <a:lnTo>
                  <a:pt x="1731" y="167"/>
                </a:lnTo>
                <a:lnTo>
                  <a:pt x="1728" y="161"/>
                </a:lnTo>
                <a:lnTo>
                  <a:pt x="1724" y="156"/>
                </a:lnTo>
                <a:lnTo>
                  <a:pt x="1717" y="145"/>
                </a:lnTo>
                <a:lnTo>
                  <a:pt x="1708" y="136"/>
                </a:lnTo>
                <a:lnTo>
                  <a:pt x="1704" y="131"/>
                </a:lnTo>
                <a:lnTo>
                  <a:pt x="1699" y="127"/>
                </a:lnTo>
                <a:lnTo>
                  <a:pt x="1688" y="118"/>
                </a:lnTo>
                <a:lnTo>
                  <a:pt x="1683" y="115"/>
                </a:lnTo>
                <a:lnTo>
                  <a:pt x="1677" y="112"/>
                </a:lnTo>
                <a:lnTo>
                  <a:pt x="1672" y="109"/>
                </a:lnTo>
                <a:lnTo>
                  <a:pt x="1666" y="106"/>
                </a:lnTo>
                <a:lnTo>
                  <a:pt x="1660" y="104"/>
                </a:lnTo>
                <a:lnTo>
                  <a:pt x="1654" y="102"/>
                </a:lnTo>
                <a:lnTo>
                  <a:pt x="1647" y="100"/>
                </a:lnTo>
                <a:lnTo>
                  <a:pt x="1641" y="98"/>
                </a:lnTo>
                <a:lnTo>
                  <a:pt x="1634" y="97"/>
                </a:lnTo>
                <a:lnTo>
                  <a:pt x="1627" y="96"/>
                </a:lnTo>
                <a:lnTo>
                  <a:pt x="1614" y="96"/>
                </a:lnTo>
                <a:lnTo>
                  <a:pt x="922" y="96"/>
                </a:lnTo>
                <a:lnTo>
                  <a:pt x="230" y="96"/>
                </a:lnTo>
                <a:close/>
                <a:moveTo>
                  <a:pt x="692" y="750"/>
                </a:moveTo>
                <a:lnTo>
                  <a:pt x="619" y="677"/>
                </a:lnTo>
                <a:lnTo>
                  <a:pt x="617" y="674"/>
                </a:lnTo>
                <a:lnTo>
                  <a:pt x="615" y="671"/>
                </a:lnTo>
                <a:lnTo>
                  <a:pt x="613" y="668"/>
                </a:lnTo>
                <a:lnTo>
                  <a:pt x="611" y="664"/>
                </a:lnTo>
                <a:lnTo>
                  <a:pt x="610" y="661"/>
                </a:lnTo>
                <a:lnTo>
                  <a:pt x="609" y="657"/>
                </a:lnTo>
                <a:lnTo>
                  <a:pt x="609" y="653"/>
                </a:lnTo>
                <a:lnTo>
                  <a:pt x="609" y="649"/>
                </a:lnTo>
                <a:lnTo>
                  <a:pt x="609" y="645"/>
                </a:lnTo>
                <a:lnTo>
                  <a:pt x="610" y="641"/>
                </a:lnTo>
                <a:lnTo>
                  <a:pt x="613" y="634"/>
                </a:lnTo>
                <a:lnTo>
                  <a:pt x="615" y="630"/>
                </a:lnTo>
                <a:lnTo>
                  <a:pt x="617" y="626"/>
                </a:lnTo>
                <a:lnTo>
                  <a:pt x="622" y="620"/>
                </a:lnTo>
                <a:lnTo>
                  <a:pt x="626" y="617"/>
                </a:lnTo>
                <a:lnTo>
                  <a:pt x="629" y="614"/>
                </a:lnTo>
                <a:lnTo>
                  <a:pt x="633" y="612"/>
                </a:lnTo>
                <a:lnTo>
                  <a:pt x="636" y="610"/>
                </a:lnTo>
                <a:lnTo>
                  <a:pt x="640" y="609"/>
                </a:lnTo>
                <a:lnTo>
                  <a:pt x="644" y="608"/>
                </a:lnTo>
                <a:lnTo>
                  <a:pt x="648" y="607"/>
                </a:lnTo>
                <a:lnTo>
                  <a:pt x="652" y="606"/>
                </a:lnTo>
                <a:lnTo>
                  <a:pt x="656" y="606"/>
                </a:lnTo>
                <a:lnTo>
                  <a:pt x="659" y="607"/>
                </a:lnTo>
                <a:lnTo>
                  <a:pt x="663" y="608"/>
                </a:lnTo>
                <a:lnTo>
                  <a:pt x="667" y="609"/>
                </a:lnTo>
                <a:lnTo>
                  <a:pt x="670" y="610"/>
                </a:lnTo>
                <a:lnTo>
                  <a:pt x="674" y="612"/>
                </a:lnTo>
                <a:lnTo>
                  <a:pt x="677" y="614"/>
                </a:lnTo>
                <a:lnTo>
                  <a:pt x="680" y="617"/>
                </a:lnTo>
                <a:lnTo>
                  <a:pt x="752" y="689"/>
                </a:lnTo>
                <a:lnTo>
                  <a:pt x="795" y="731"/>
                </a:lnTo>
                <a:lnTo>
                  <a:pt x="734" y="792"/>
                </a:lnTo>
                <a:lnTo>
                  <a:pt x="692" y="750"/>
                </a:lnTo>
                <a:close/>
                <a:moveTo>
                  <a:pt x="924" y="742"/>
                </a:moveTo>
                <a:lnTo>
                  <a:pt x="933" y="742"/>
                </a:lnTo>
                <a:lnTo>
                  <a:pt x="942" y="743"/>
                </a:lnTo>
                <a:lnTo>
                  <a:pt x="951" y="744"/>
                </a:lnTo>
                <a:lnTo>
                  <a:pt x="960" y="746"/>
                </a:lnTo>
                <a:lnTo>
                  <a:pt x="969" y="748"/>
                </a:lnTo>
                <a:lnTo>
                  <a:pt x="977" y="750"/>
                </a:lnTo>
                <a:lnTo>
                  <a:pt x="993" y="756"/>
                </a:lnTo>
                <a:lnTo>
                  <a:pt x="1001" y="760"/>
                </a:lnTo>
                <a:lnTo>
                  <a:pt x="1009" y="764"/>
                </a:lnTo>
                <a:lnTo>
                  <a:pt x="1017" y="768"/>
                </a:lnTo>
                <a:lnTo>
                  <a:pt x="1024" y="773"/>
                </a:lnTo>
                <a:lnTo>
                  <a:pt x="1038" y="783"/>
                </a:lnTo>
                <a:lnTo>
                  <a:pt x="1044" y="788"/>
                </a:lnTo>
                <a:lnTo>
                  <a:pt x="1050" y="794"/>
                </a:lnTo>
                <a:lnTo>
                  <a:pt x="1056" y="801"/>
                </a:lnTo>
                <a:lnTo>
                  <a:pt x="1062" y="807"/>
                </a:lnTo>
                <a:lnTo>
                  <a:pt x="1067" y="814"/>
                </a:lnTo>
                <a:lnTo>
                  <a:pt x="1072" y="821"/>
                </a:lnTo>
                <a:lnTo>
                  <a:pt x="1077" y="828"/>
                </a:lnTo>
                <a:lnTo>
                  <a:pt x="1081" y="836"/>
                </a:lnTo>
                <a:lnTo>
                  <a:pt x="1085" y="843"/>
                </a:lnTo>
                <a:lnTo>
                  <a:pt x="1089" y="851"/>
                </a:lnTo>
                <a:lnTo>
                  <a:pt x="1092" y="859"/>
                </a:lnTo>
                <a:lnTo>
                  <a:pt x="1095" y="868"/>
                </a:lnTo>
                <a:lnTo>
                  <a:pt x="1097" y="876"/>
                </a:lnTo>
                <a:lnTo>
                  <a:pt x="1099" y="885"/>
                </a:lnTo>
                <a:lnTo>
                  <a:pt x="1101" y="893"/>
                </a:lnTo>
                <a:lnTo>
                  <a:pt x="1102" y="902"/>
                </a:lnTo>
                <a:lnTo>
                  <a:pt x="1103" y="911"/>
                </a:lnTo>
                <a:lnTo>
                  <a:pt x="1103" y="921"/>
                </a:lnTo>
                <a:lnTo>
                  <a:pt x="1103" y="930"/>
                </a:lnTo>
                <a:lnTo>
                  <a:pt x="1102" y="939"/>
                </a:lnTo>
                <a:lnTo>
                  <a:pt x="1101" y="948"/>
                </a:lnTo>
                <a:lnTo>
                  <a:pt x="1099" y="957"/>
                </a:lnTo>
                <a:lnTo>
                  <a:pt x="1097" y="965"/>
                </a:lnTo>
                <a:lnTo>
                  <a:pt x="1095" y="974"/>
                </a:lnTo>
                <a:lnTo>
                  <a:pt x="1089" y="990"/>
                </a:lnTo>
                <a:lnTo>
                  <a:pt x="1085" y="998"/>
                </a:lnTo>
                <a:lnTo>
                  <a:pt x="1081" y="1006"/>
                </a:lnTo>
                <a:lnTo>
                  <a:pt x="1077" y="1013"/>
                </a:lnTo>
                <a:lnTo>
                  <a:pt x="1072" y="1021"/>
                </a:lnTo>
                <a:lnTo>
                  <a:pt x="1062" y="1034"/>
                </a:lnTo>
                <a:lnTo>
                  <a:pt x="1056" y="1041"/>
                </a:lnTo>
                <a:lnTo>
                  <a:pt x="1050" y="1047"/>
                </a:lnTo>
                <a:lnTo>
                  <a:pt x="1044" y="1053"/>
                </a:lnTo>
                <a:lnTo>
                  <a:pt x="1038" y="1059"/>
                </a:lnTo>
                <a:lnTo>
                  <a:pt x="1031" y="1064"/>
                </a:lnTo>
                <a:lnTo>
                  <a:pt x="1024" y="1069"/>
                </a:lnTo>
                <a:lnTo>
                  <a:pt x="1017" y="1074"/>
                </a:lnTo>
                <a:lnTo>
                  <a:pt x="1009" y="1078"/>
                </a:lnTo>
                <a:lnTo>
                  <a:pt x="1001" y="1082"/>
                </a:lnTo>
                <a:lnTo>
                  <a:pt x="993" y="1085"/>
                </a:lnTo>
                <a:lnTo>
                  <a:pt x="985" y="1089"/>
                </a:lnTo>
                <a:lnTo>
                  <a:pt x="977" y="1091"/>
                </a:lnTo>
                <a:lnTo>
                  <a:pt x="969" y="1094"/>
                </a:lnTo>
                <a:lnTo>
                  <a:pt x="960" y="1096"/>
                </a:lnTo>
                <a:lnTo>
                  <a:pt x="951" y="1097"/>
                </a:lnTo>
                <a:lnTo>
                  <a:pt x="942" y="1098"/>
                </a:lnTo>
                <a:lnTo>
                  <a:pt x="933" y="1099"/>
                </a:lnTo>
                <a:lnTo>
                  <a:pt x="924" y="1099"/>
                </a:lnTo>
                <a:lnTo>
                  <a:pt x="915" y="1099"/>
                </a:lnTo>
                <a:lnTo>
                  <a:pt x="906" y="1098"/>
                </a:lnTo>
                <a:lnTo>
                  <a:pt x="897" y="1097"/>
                </a:lnTo>
                <a:lnTo>
                  <a:pt x="888" y="1096"/>
                </a:lnTo>
                <a:lnTo>
                  <a:pt x="879" y="1094"/>
                </a:lnTo>
                <a:lnTo>
                  <a:pt x="871" y="1091"/>
                </a:lnTo>
                <a:lnTo>
                  <a:pt x="855" y="1085"/>
                </a:lnTo>
                <a:lnTo>
                  <a:pt x="847" y="1082"/>
                </a:lnTo>
                <a:lnTo>
                  <a:pt x="839" y="1078"/>
                </a:lnTo>
                <a:lnTo>
                  <a:pt x="831" y="1074"/>
                </a:lnTo>
                <a:lnTo>
                  <a:pt x="824" y="1069"/>
                </a:lnTo>
                <a:lnTo>
                  <a:pt x="810" y="1059"/>
                </a:lnTo>
                <a:lnTo>
                  <a:pt x="804" y="1053"/>
                </a:lnTo>
                <a:lnTo>
                  <a:pt x="798" y="1047"/>
                </a:lnTo>
                <a:lnTo>
                  <a:pt x="792" y="1041"/>
                </a:lnTo>
                <a:lnTo>
                  <a:pt x="786" y="1034"/>
                </a:lnTo>
                <a:lnTo>
                  <a:pt x="781" y="1028"/>
                </a:lnTo>
                <a:lnTo>
                  <a:pt x="776" y="1021"/>
                </a:lnTo>
                <a:lnTo>
                  <a:pt x="771" y="1013"/>
                </a:lnTo>
                <a:lnTo>
                  <a:pt x="767" y="1006"/>
                </a:lnTo>
                <a:lnTo>
                  <a:pt x="763" y="998"/>
                </a:lnTo>
                <a:lnTo>
                  <a:pt x="759" y="990"/>
                </a:lnTo>
                <a:lnTo>
                  <a:pt x="755" y="982"/>
                </a:lnTo>
                <a:lnTo>
                  <a:pt x="752" y="974"/>
                </a:lnTo>
                <a:lnTo>
                  <a:pt x="750" y="965"/>
                </a:lnTo>
                <a:lnTo>
                  <a:pt x="748" y="957"/>
                </a:lnTo>
                <a:lnTo>
                  <a:pt x="746" y="948"/>
                </a:lnTo>
                <a:lnTo>
                  <a:pt x="745" y="939"/>
                </a:lnTo>
                <a:lnTo>
                  <a:pt x="745" y="930"/>
                </a:lnTo>
                <a:lnTo>
                  <a:pt x="744" y="921"/>
                </a:lnTo>
                <a:lnTo>
                  <a:pt x="745" y="911"/>
                </a:lnTo>
                <a:lnTo>
                  <a:pt x="745" y="902"/>
                </a:lnTo>
                <a:lnTo>
                  <a:pt x="746" y="893"/>
                </a:lnTo>
                <a:lnTo>
                  <a:pt x="748" y="885"/>
                </a:lnTo>
                <a:lnTo>
                  <a:pt x="750" y="876"/>
                </a:lnTo>
                <a:lnTo>
                  <a:pt x="752" y="868"/>
                </a:lnTo>
                <a:lnTo>
                  <a:pt x="759" y="851"/>
                </a:lnTo>
                <a:lnTo>
                  <a:pt x="763" y="843"/>
                </a:lnTo>
                <a:lnTo>
                  <a:pt x="767" y="836"/>
                </a:lnTo>
                <a:lnTo>
                  <a:pt x="771" y="828"/>
                </a:lnTo>
                <a:lnTo>
                  <a:pt x="776" y="821"/>
                </a:lnTo>
                <a:lnTo>
                  <a:pt x="786" y="807"/>
                </a:lnTo>
                <a:lnTo>
                  <a:pt x="792" y="801"/>
                </a:lnTo>
                <a:lnTo>
                  <a:pt x="798" y="794"/>
                </a:lnTo>
                <a:lnTo>
                  <a:pt x="804" y="788"/>
                </a:lnTo>
                <a:lnTo>
                  <a:pt x="810" y="783"/>
                </a:lnTo>
                <a:lnTo>
                  <a:pt x="817" y="777"/>
                </a:lnTo>
                <a:lnTo>
                  <a:pt x="824" y="773"/>
                </a:lnTo>
                <a:lnTo>
                  <a:pt x="831" y="768"/>
                </a:lnTo>
                <a:lnTo>
                  <a:pt x="839" y="764"/>
                </a:lnTo>
                <a:lnTo>
                  <a:pt x="847" y="760"/>
                </a:lnTo>
                <a:lnTo>
                  <a:pt x="855" y="756"/>
                </a:lnTo>
                <a:lnTo>
                  <a:pt x="863" y="753"/>
                </a:lnTo>
                <a:lnTo>
                  <a:pt x="871" y="750"/>
                </a:lnTo>
                <a:lnTo>
                  <a:pt x="879" y="748"/>
                </a:lnTo>
                <a:lnTo>
                  <a:pt x="888" y="746"/>
                </a:lnTo>
                <a:lnTo>
                  <a:pt x="897" y="744"/>
                </a:lnTo>
                <a:lnTo>
                  <a:pt x="906" y="743"/>
                </a:lnTo>
                <a:lnTo>
                  <a:pt x="915" y="742"/>
                </a:lnTo>
                <a:lnTo>
                  <a:pt x="924" y="742"/>
                </a:lnTo>
                <a:close/>
                <a:moveTo>
                  <a:pt x="1028" y="921"/>
                </a:moveTo>
                <a:lnTo>
                  <a:pt x="1027" y="910"/>
                </a:lnTo>
                <a:lnTo>
                  <a:pt x="1026" y="900"/>
                </a:lnTo>
                <a:lnTo>
                  <a:pt x="1023" y="890"/>
                </a:lnTo>
                <a:lnTo>
                  <a:pt x="1020" y="880"/>
                </a:lnTo>
                <a:lnTo>
                  <a:pt x="1018" y="876"/>
                </a:lnTo>
                <a:lnTo>
                  <a:pt x="1015" y="871"/>
                </a:lnTo>
                <a:lnTo>
                  <a:pt x="1013" y="867"/>
                </a:lnTo>
                <a:lnTo>
                  <a:pt x="1010" y="863"/>
                </a:lnTo>
                <a:lnTo>
                  <a:pt x="1007" y="858"/>
                </a:lnTo>
                <a:lnTo>
                  <a:pt x="1004" y="855"/>
                </a:lnTo>
                <a:lnTo>
                  <a:pt x="998" y="847"/>
                </a:lnTo>
                <a:lnTo>
                  <a:pt x="990" y="840"/>
                </a:lnTo>
                <a:lnTo>
                  <a:pt x="982" y="834"/>
                </a:lnTo>
                <a:lnTo>
                  <a:pt x="974" y="829"/>
                </a:lnTo>
                <a:lnTo>
                  <a:pt x="964" y="825"/>
                </a:lnTo>
                <a:lnTo>
                  <a:pt x="955" y="821"/>
                </a:lnTo>
                <a:lnTo>
                  <a:pt x="945" y="819"/>
                </a:lnTo>
                <a:lnTo>
                  <a:pt x="935" y="817"/>
                </a:lnTo>
                <a:lnTo>
                  <a:pt x="924" y="817"/>
                </a:lnTo>
                <a:lnTo>
                  <a:pt x="913" y="817"/>
                </a:lnTo>
                <a:lnTo>
                  <a:pt x="903" y="819"/>
                </a:lnTo>
                <a:lnTo>
                  <a:pt x="893" y="821"/>
                </a:lnTo>
                <a:lnTo>
                  <a:pt x="884" y="825"/>
                </a:lnTo>
                <a:lnTo>
                  <a:pt x="879" y="827"/>
                </a:lnTo>
                <a:lnTo>
                  <a:pt x="874" y="829"/>
                </a:lnTo>
                <a:lnTo>
                  <a:pt x="870" y="832"/>
                </a:lnTo>
                <a:lnTo>
                  <a:pt x="866" y="834"/>
                </a:lnTo>
                <a:lnTo>
                  <a:pt x="862" y="837"/>
                </a:lnTo>
                <a:lnTo>
                  <a:pt x="858" y="840"/>
                </a:lnTo>
                <a:lnTo>
                  <a:pt x="850" y="847"/>
                </a:lnTo>
                <a:lnTo>
                  <a:pt x="844" y="855"/>
                </a:lnTo>
                <a:lnTo>
                  <a:pt x="838" y="863"/>
                </a:lnTo>
                <a:lnTo>
                  <a:pt x="833" y="871"/>
                </a:lnTo>
                <a:lnTo>
                  <a:pt x="828" y="880"/>
                </a:lnTo>
                <a:lnTo>
                  <a:pt x="825" y="890"/>
                </a:lnTo>
                <a:lnTo>
                  <a:pt x="822" y="900"/>
                </a:lnTo>
                <a:lnTo>
                  <a:pt x="820" y="910"/>
                </a:lnTo>
                <a:lnTo>
                  <a:pt x="820" y="921"/>
                </a:lnTo>
                <a:lnTo>
                  <a:pt x="820" y="931"/>
                </a:lnTo>
                <a:lnTo>
                  <a:pt x="822" y="942"/>
                </a:lnTo>
                <a:lnTo>
                  <a:pt x="825" y="952"/>
                </a:lnTo>
                <a:lnTo>
                  <a:pt x="828" y="961"/>
                </a:lnTo>
                <a:lnTo>
                  <a:pt x="830" y="966"/>
                </a:lnTo>
                <a:lnTo>
                  <a:pt x="833" y="970"/>
                </a:lnTo>
                <a:lnTo>
                  <a:pt x="835" y="975"/>
                </a:lnTo>
                <a:lnTo>
                  <a:pt x="838" y="979"/>
                </a:lnTo>
                <a:lnTo>
                  <a:pt x="841" y="983"/>
                </a:lnTo>
                <a:lnTo>
                  <a:pt x="844" y="987"/>
                </a:lnTo>
                <a:lnTo>
                  <a:pt x="850" y="994"/>
                </a:lnTo>
                <a:lnTo>
                  <a:pt x="858" y="1001"/>
                </a:lnTo>
                <a:lnTo>
                  <a:pt x="866" y="1007"/>
                </a:lnTo>
                <a:lnTo>
                  <a:pt x="874" y="1012"/>
                </a:lnTo>
                <a:lnTo>
                  <a:pt x="884" y="1017"/>
                </a:lnTo>
                <a:lnTo>
                  <a:pt x="893" y="1020"/>
                </a:lnTo>
                <a:lnTo>
                  <a:pt x="903" y="1023"/>
                </a:lnTo>
                <a:lnTo>
                  <a:pt x="913" y="1024"/>
                </a:lnTo>
                <a:lnTo>
                  <a:pt x="924" y="1025"/>
                </a:lnTo>
                <a:lnTo>
                  <a:pt x="935" y="1024"/>
                </a:lnTo>
                <a:lnTo>
                  <a:pt x="945" y="1023"/>
                </a:lnTo>
                <a:lnTo>
                  <a:pt x="955" y="1020"/>
                </a:lnTo>
                <a:lnTo>
                  <a:pt x="964" y="1017"/>
                </a:lnTo>
                <a:lnTo>
                  <a:pt x="969" y="1014"/>
                </a:lnTo>
                <a:lnTo>
                  <a:pt x="974" y="1012"/>
                </a:lnTo>
                <a:lnTo>
                  <a:pt x="978" y="1010"/>
                </a:lnTo>
                <a:lnTo>
                  <a:pt x="982" y="1007"/>
                </a:lnTo>
                <a:lnTo>
                  <a:pt x="986" y="1004"/>
                </a:lnTo>
                <a:lnTo>
                  <a:pt x="990" y="1001"/>
                </a:lnTo>
                <a:lnTo>
                  <a:pt x="998" y="994"/>
                </a:lnTo>
                <a:lnTo>
                  <a:pt x="1004" y="987"/>
                </a:lnTo>
                <a:lnTo>
                  <a:pt x="1010" y="979"/>
                </a:lnTo>
                <a:lnTo>
                  <a:pt x="1015" y="970"/>
                </a:lnTo>
                <a:lnTo>
                  <a:pt x="1020" y="961"/>
                </a:lnTo>
                <a:lnTo>
                  <a:pt x="1023" y="952"/>
                </a:lnTo>
                <a:lnTo>
                  <a:pt x="1026" y="942"/>
                </a:lnTo>
                <a:lnTo>
                  <a:pt x="1027" y="931"/>
                </a:lnTo>
                <a:lnTo>
                  <a:pt x="1028" y="921"/>
                </a:lnTo>
                <a:close/>
                <a:moveTo>
                  <a:pt x="696" y="963"/>
                </a:moveTo>
                <a:lnTo>
                  <a:pt x="637" y="963"/>
                </a:lnTo>
                <a:lnTo>
                  <a:pt x="535" y="963"/>
                </a:lnTo>
                <a:lnTo>
                  <a:pt x="527" y="962"/>
                </a:lnTo>
                <a:lnTo>
                  <a:pt x="523" y="961"/>
                </a:lnTo>
                <a:lnTo>
                  <a:pt x="520" y="960"/>
                </a:lnTo>
                <a:lnTo>
                  <a:pt x="516" y="958"/>
                </a:lnTo>
                <a:lnTo>
                  <a:pt x="513" y="956"/>
                </a:lnTo>
                <a:lnTo>
                  <a:pt x="510" y="954"/>
                </a:lnTo>
                <a:lnTo>
                  <a:pt x="508" y="951"/>
                </a:lnTo>
                <a:lnTo>
                  <a:pt x="503" y="945"/>
                </a:lnTo>
                <a:lnTo>
                  <a:pt x="501" y="941"/>
                </a:lnTo>
                <a:lnTo>
                  <a:pt x="499" y="937"/>
                </a:lnTo>
                <a:lnTo>
                  <a:pt x="498" y="933"/>
                </a:lnTo>
                <a:lnTo>
                  <a:pt x="497" y="929"/>
                </a:lnTo>
                <a:lnTo>
                  <a:pt x="496" y="921"/>
                </a:lnTo>
                <a:lnTo>
                  <a:pt x="496" y="916"/>
                </a:lnTo>
                <a:lnTo>
                  <a:pt x="497" y="912"/>
                </a:lnTo>
                <a:lnTo>
                  <a:pt x="498" y="908"/>
                </a:lnTo>
                <a:lnTo>
                  <a:pt x="499" y="904"/>
                </a:lnTo>
                <a:lnTo>
                  <a:pt x="503" y="897"/>
                </a:lnTo>
                <a:lnTo>
                  <a:pt x="505" y="894"/>
                </a:lnTo>
                <a:lnTo>
                  <a:pt x="508" y="891"/>
                </a:lnTo>
                <a:lnTo>
                  <a:pt x="510" y="888"/>
                </a:lnTo>
                <a:lnTo>
                  <a:pt x="513" y="885"/>
                </a:lnTo>
                <a:lnTo>
                  <a:pt x="520" y="881"/>
                </a:lnTo>
                <a:lnTo>
                  <a:pt x="523" y="880"/>
                </a:lnTo>
                <a:lnTo>
                  <a:pt x="527" y="879"/>
                </a:lnTo>
                <a:lnTo>
                  <a:pt x="535" y="878"/>
                </a:lnTo>
                <a:lnTo>
                  <a:pt x="637" y="878"/>
                </a:lnTo>
                <a:lnTo>
                  <a:pt x="696" y="878"/>
                </a:lnTo>
                <a:lnTo>
                  <a:pt x="696" y="963"/>
                </a:lnTo>
                <a:close/>
                <a:moveTo>
                  <a:pt x="1312" y="878"/>
                </a:moveTo>
                <a:lnTo>
                  <a:pt x="1320" y="879"/>
                </a:lnTo>
                <a:lnTo>
                  <a:pt x="1324" y="880"/>
                </a:lnTo>
                <a:lnTo>
                  <a:pt x="1327" y="881"/>
                </a:lnTo>
                <a:lnTo>
                  <a:pt x="1331" y="883"/>
                </a:lnTo>
                <a:lnTo>
                  <a:pt x="1334" y="885"/>
                </a:lnTo>
                <a:lnTo>
                  <a:pt x="1337" y="888"/>
                </a:lnTo>
                <a:lnTo>
                  <a:pt x="1340" y="891"/>
                </a:lnTo>
                <a:lnTo>
                  <a:pt x="1344" y="897"/>
                </a:lnTo>
                <a:lnTo>
                  <a:pt x="1346" y="900"/>
                </a:lnTo>
                <a:lnTo>
                  <a:pt x="1348" y="904"/>
                </a:lnTo>
                <a:lnTo>
                  <a:pt x="1349" y="908"/>
                </a:lnTo>
                <a:lnTo>
                  <a:pt x="1350" y="912"/>
                </a:lnTo>
                <a:lnTo>
                  <a:pt x="1351" y="921"/>
                </a:lnTo>
                <a:lnTo>
                  <a:pt x="1351" y="925"/>
                </a:lnTo>
                <a:lnTo>
                  <a:pt x="1350" y="929"/>
                </a:lnTo>
                <a:lnTo>
                  <a:pt x="1349" y="933"/>
                </a:lnTo>
                <a:lnTo>
                  <a:pt x="1348" y="937"/>
                </a:lnTo>
                <a:lnTo>
                  <a:pt x="1344" y="945"/>
                </a:lnTo>
                <a:lnTo>
                  <a:pt x="1342" y="948"/>
                </a:lnTo>
                <a:lnTo>
                  <a:pt x="1340" y="951"/>
                </a:lnTo>
                <a:lnTo>
                  <a:pt x="1337" y="954"/>
                </a:lnTo>
                <a:lnTo>
                  <a:pt x="1334" y="956"/>
                </a:lnTo>
                <a:lnTo>
                  <a:pt x="1327" y="960"/>
                </a:lnTo>
                <a:lnTo>
                  <a:pt x="1324" y="961"/>
                </a:lnTo>
                <a:lnTo>
                  <a:pt x="1320" y="962"/>
                </a:lnTo>
                <a:lnTo>
                  <a:pt x="1312" y="963"/>
                </a:lnTo>
                <a:lnTo>
                  <a:pt x="1210" y="963"/>
                </a:lnTo>
                <a:lnTo>
                  <a:pt x="1151" y="963"/>
                </a:lnTo>
                <a:lnTo>
                  <a:pt x="1151" y="878"/>
                </a:lnTo>
                <a:lnTo>
                  <a:pt x="1210" y="878"/>
                </a:lnTo>
                <a:lnTo>
                  <a:pt x="1312" y="878"/>
                </a:lnTo>
                <a:close/>
                <a:moveTo>
                  <a:pt x="967" y="635"/>
                </a:moveTo>
                <a:lnTo>
                  <a:pt x="967" y="694"/>
                </a:lnTo>
                <a:lnTo>
                  <a:pt x="881" y="694"/>
                </a:lnTo>
                <a:lnTo>
                  <a:pt x="881" y="635"/>
                </a:lnTo>
                <a:lnTo>
                  <a:pt x="881" y="532"/>
                </a:lnTo>
                <a:lnTo>
                  <a:pt x="882" y="528"/>
                </a:lnTo>
                <a:lnTo>
                  <a:pt x="882" y="525"/>
                </a:lnTo>
                <a:lnTo>
                  <a:pt x="883" y="521"/>
                </a:lnTo>
                <a:lnTo>
                  <a:pt x="885" y="517"/>
                </a:lnTo>
                <a:lnTo>
                  <a:pt x="886" y="514"/>
                </a:lnTo>
                <a:lnTo>
                  <a:pt x="889" y="511"/>
                </a:lnTo>
                <a:lnTo>
                  <a:pt x="891" y="508"/>
                </a:lnTo>
                <a:lnTo>
                  <a:pt x="894" y="505"/>
                </a:lnTo>
                <a:lnTo>
                  <a:pt x="900" y="500"/>
                </a:lnTo>
                <a:lnTo>
                  <a:pt x="904" y="499"/>
                </a:lnTo>
                <a:lnTo>
                  <a:pt x="907" y="497"/>
                </a:lnTo>
                <a:lnTo>
                  <a:pt x="911" y="496"/>
                </a:lnTo>
                <a:lnTo>
                  <a:pt x="915" y="495"/>
                </a:lnTo>
                <a:lnTo>
                  <a:pt x="924" y="494"/>
                </a:lnTo>
                <a:lnTo>
                  <a:pt x="933" y="495"/>
                </a:lnTo>
                <a:lnTo>
                  <a:pt x="937" y="496"/>
                </a:lnTo>
                <a:lnTo>
                  <a:pt x="941" y="497"/>
                </a:lnTo>
                <a:lnTo>
                  <a:pt x="948" y="500"/>
                </a:lnTo>
                <a:lnTo>
                  <a:pt x="951" y="503"/>
                </a:lnTo>
                <a:lnTo>
                  <a:pt x="954" y="505"/>
                </a:lnTo>
                <a:lnTo>
                  <a:pt x="957" y="508"/>
                </a:lnTo>
                <a:lnTo>
                  <a:pt x="959" y="511"/>
                </a:lnTo>
                <a:lnTo>
                  <a:pt x="963" y="517"/>
                </a:lnTo>
                <a:lnTo>
                  <a:pt x="965" y="521"/>
                </a:lnTo>
                <a:lnTo>
                  <a:pt x="966" y="525"/>
                </a:lnTo>
                <a:lnTo>
                  <a:pt x="966" y="528"/>
                </a:lnTo>
                <a:lnTo>
                  <a:pt x="967" y="532"/>
                </a:lnTo>
                <a:lnTo>
                  <a:pt x="967" y="635"/>
                </a:lnTo>
                <a:close/>
                <a:moveTo>
                  <a:pt x="881" y="1207"/>
                </a:moveTo>
                <a:lnTo>
                  <a:pt x="881" y="1147"/>
                </a:lnTo>
                <a:lnTo>
                  <a:pt x="967" y="1147"/>
                </a:lnTo>
                <a:lnTo>
                  <a:pt x="967" y="1207"/>
                </a:lnTo>
                <a:lnTo>
                  <a:pt x="967" y="1309"/>
                </a:lnTo>
                <a:lnTo>
                  <a:pt x="966" y="1313"/>
                </a:lnTo>
                <a:lnTo>
                  <a:pt x="966" y="1317"/>
                </a:lnTo>
                <a:lnTo>
                  <a:pt x="965" y="1320"/>
                </a:lnTo>
                <a:lnTo>
                  <a:pt x="963" y="1324"/>
                </a:lnTo>
                <a:lnTo>
                  <a:pt x="962" y="1327"/>
                </a:lnTo>
                <a:lnTo>
                  <a:pt x="959" y="1331"/>
                </a:lnTo>
                <a:lnTo>
                  <a:pt x="957" y="1333"/>
                </a:lnTo>
                <a:lnTo>
                  <a:pt x="954" y="1336"/>
                </a:lnTo>
                <a:lnTo>
                  <a:pt x="948" y="1341"/>
                </a:lnTo>
                <a:lnTo>
                  <a:pt x="944" y="1343"/>
                </a:lnTo>
                <a:lnTo>
                  <a:pt x="941" y="1344"/>
                </a:lnTo>
                <a:lnTo>
                  <a:pt x="937" y="1346"/>
                </a:lnTo>
                <a:lnTo>
                  <a:pt x="933" y="1347"/>
                </a:lnTo>
                <a:lnTo>
                  <a:pt x="924" y="1347"/>
                </a:lnTo>
                <a:lnTo>
                  <a:pt x="915" y="1347"/>
                </a:lnTo>
                <a:lnTo>
                  <a:pt x="911" y="1346"/>
                </a:lnTo>
                <a:lnTo>
                  <a:pt x="907" y="1344"/>
                </a:lnTo>
                <a:lnTo>
                  <a:pt x="900" y="1341"/>
                </a:lnTo>
                <a:lnTo>
                  <a:pt x="897" y="1339"/>
                </a:lnTo>
                <a:lnTo>
                  <a:pt x="894" y="1336"/>
                </a:lnTo>
                <a:lnTo>
                  <a:pt x="891" y="1333"/>
                </a:lnTo>
                <a:lnTo>
                  <a:pt x="889" y="1331"/>
                </a:lnTo>
                <a:lnTo>
                  <a:pt x="885" y="1324"/>
                </a:lnTo>
                <a:lnTo>
                  <a:pt x="883" y="1320"/>
                </a:lnTo>
                <a:lnTo>
                  <a:pt x="882" y="1317"/>
                </a:lnTo>
                <a:lnTo>
                  <a:pt x="882" y="1313"/>
                </a:lnTo>
                <a:lnTo>
                  <a:pt x="881" y="1309"/>
                </a:lnTo>
                <a:lnTo>
                  <a:pt x="881" y="1207"/>
                </a:lnTo>
                <a:close/>
                <a:moveTo>
                  <a:pt x="1156" y="1092"/>
                </a:moveTo>
                <a:lnTo>
                  <a:pt x="1229" y="1165"/>
                </a:lnTo>
                <a:lnTo>
                  <a:pt x="1231" y="1168"/>
                </a:lnTo>
                <a:lnTo>
                  <a:pt x="1233" y="1171"/>
                </a:lnTo>
                <a:lnTo>
                  <a:pt x="1235" y="1174"/>
                </a:lnTo>
                <a:lnTo>
                  <a:pt x="1237" y="1178"/>
                </a:lnTo>
                <a:lnTo>
                  <a:pt x="1238" y="1181"/>
                </a:lnTo>
                <a:lnTo>
                  <a:pt x="1239" y="1185"/>
                </a:lnTo>
                <a:lnTo>
                  <a:pt x="1239" y="1189"/>
                </a:lnTo>
                <a:lnTo>
                  <a:pt x="1239" y="1193"/>
                </a:lnTo>
                <a:lnTo>
                  <a:pt x="1239" y="1197"/>
                </a:lnTo>
                <a:lnTo>
                  <a:pt x="1238" y="1201"/>
                </a:lnTo>
                <a:lnTo>
                  <a:pt x="1235" y="1208"/>
                </a:lnTo>
                <a:lnTo>
                  <a:pt x="1233" y="1212"/>
                </a:lnTo>
                <a:lnTo>
                  <a:pt x="1231" y="1215"/>
                </a:lnTo>
                <a:lnTo>
                  <a:pt x="1226" y="1222"/>
                </a:lnTo>
                <a:lnTo>
                  <a:pt x="1222" y="1225"/>
                </a:lnTo>
                <a:lnTo>
                  <a:pt x="1219" y="1228"/>
                </a:lnTo>
                <a:lnTo>
                  <a:pt x="1215" y="1230"/>
                </a:lnTo>
                <a:lnTo>
                  <a:pt x="1212" y="1232"/>
                </a:lnTo>
                <a:lnTo>
                  <a:pt x="1208" y="1233"/>
                </a:lnTo>
                <a:lnTo>
                  <a:pt x="1204" y="1234"/>
                </a:lnTo>
                <a:lnTo>
                  <a:pt x="1200" y="1235"/>
                </a:lnTo>
                <a:lnTo>
                  <a:pt x="1196" y="1235"/>
                </a:lnTo>
                <a:lnTo>
                  <a:pt x="1192" y="1235"/>
                </a:lnTo>
                <a:lnTo>
                  <a:pt x="1189" y="1235"/>
                </a:lnTo>
                <a:lnTo>
                  <a:pt x="1185" y="1234"/>
                </a:lnTo>
                <a:lnTo>
                  <a:pt x="1181" y="1233"/>
                </a:lnTo>
                <a:lnTo>
                  <a:pt x="1178" y="1232"/>
                </a:lnTo>
                <a:lnTo>
                  <a:pt x="1174" y="1230"/>
                </a:lnTo>
                <a:lnTo>
                  <a:pt x="1171" y="1228"/>
                </a:lnTo>
                <a:lnTo>
                  <a:pt x="1168" y="1225"/>
                </a:lnTo>
                <a:lnTo>
                  <a:pt x="1096" y="1153"/>
                </a:lnTo>
                <a:lnTo>
                  <a:pt x="1054" y="1111"/>
                </a:lnTo>
                <a:lnTo>
                  <a:pt x="1114" y="1050"/>
                </a:lnTo>
                <a:lnTo>
                  <a:pt x="1156" y="1092"/>
                </a:lnTo>
                <a:close/>
                <a:moveTo>
                  <a:pt x="1156" y="750"/>
                </a:moveTo>
                <a:lnTo>
                  <a:pt x="1114" y="792"/>
                </a:lnTo>
                <a:lnTo>
                  <a:pt x="1054" y="732"/>
                </a:lnTo>
                <a:lnTo>
                  <a:pt x="1096" y="690"/>
                </a:lnTo>
                <a:lnTo>
                  <a:pt x="1168" y="617"/>
                </a:lnTo>
                <a:lnTo>
                  <a:pt x="1171" y="615"/>
                </a:lnTo>
                <a:lnTo>
                  <a:pt x="1174" y="612"/>
                </a:lnTo>
                <a:lnTo>
                  <a:pt x="1178" y="611"/>
                </a:lnTo>
                <a:lnTo>
                  <a:pt x="1181" y="609"/>
                </a:lnTo>
                <a:lnTo>
                  <a:pt x="1185" y="608"/>
                </a:lnTo>
                <a:lnTo>
                  <a:pt x="1189" y="607"/>
                </a:lnTo>
                <a:lnTo>
                  <a:pt x="1192" y="607"/>
                </a:lnTo>
                <a:lnTo>
                  <a:pt x="1196" y="607"/>
                </a:lnTo>
                <a:lnTo>
                  <a:pt x="1200" y="607"/>
                </a:lnTo>
                <a:lnTo>
                  <a:pt x="1204" y="608"/>
                </a:lnTo>
                <a:lnTo>
                  <a:pt x="1212" y="611"/>
                </a:lnTo>
                <a:lnTo>
                  <a:pt x="1215" y="613"/>
                </a:lnTo>
                <a:lnTo>
                  <a:pt x="1219" y="615"/>
                </a:lnTo>
                <a:lnTo>
                  <a:pt x="1226" y="620"/>
                </a:lnTo>
                <a:lnTo>
                  <a:pt x="1229" y="624"/>
                </a:lnTo>
                <a:lnTo>
                  <a:pt x="1231" y="627"/>
                </a:lnTo>
                <a:lnTo>
                  <a:pt x="1233" y="630"/>
                </a:lnTo>
                <a:lnTo>
                  <a:pt x="1235" y="634"/>
                </a:lnTo>
                <a:lnTo>
                  <a:pt x="1237" y="638"/>
                </a:lnTo>
                <a:lnTo>
                  <a:pt x="1238" y="642"/>
                </a:lnTo>
                <a:lnTo>
                  <a:pt x="1239" y="646"/>
                </a:lnTo>
                <a:lnTo>
                  <a:pt x="1239" y="650"/>
                </a:lnTo>
                <a:lnTo>
                  <a:pt x="1239" y="653"/>
                </a:lnTo>
                <a:lnTo>
                  <a:pt x="1239" y="657"/>
                </a:lnTo>
                <a:lnTo>
                  <a:pt x="1238" y="661"/>
                </a:lnTo>
                <a:lnTo>
                  <a:pt x="1237" y="665"/>
                </a:lnTo>
                <a:lnTo>
                  <a:pt x="1235" y="668"/>
                </a:lnTo>
                <a:lnTo>
                  <a:pt x="1233" y="672"/>
                </a:lnTo>
                <a:lnTo>
                  <a:pt x="1231" y="675"/>
                </a:lnTo>
                <a:lnTo>
                  <a:pt x="1229" y="678"/>
                </a:lnTo>
                <a:lnTo>
                  <a:pt x="1156" y="750"/>
                </a:lnTo>
                <a:close/>
                <a:moveTo>
                  <a:pt x="692" y="1092"/>
                </a:moveTo>
                <a:lnTo>
                  <a:pt x="734" y="1050"/>
                </a:lnTo>
                <a:lnTo>
                  <a:pt x="795" y="1110"/>
                </a:lnTo>
                <a:lnTo>
                  <a:pt x="752" y="1152"/>
                </a:lnTo>
                <a:lnTo>
                  <a:pt x="680" y="1225"/>
                </a:lnTo>
                <a:lnTo>
                  <a:pt x="677" y="1227"/>
                </a:lnTo>
                <a:lnTo>
                  <a:pt x="674" y="1229"/>
                </a:lnTo>
                <a:lnTo>
                  <a:pt x="670" y="1231"/>
                </a:lnTo>
                <a:lnTo>
                  <a:pt x="667" y="1233"/>
                </a:lnTo>
                <a:lnTo>
                  <a:pt x="663" y="1234"/>
                </a:lnTo>
                <a:lnTo>
                  <a:pt x="659" y="1235"/>
                </a:lnTo>
                <a:lnTo>
                  <a:pt x="656" y="1235"/>
                </a:lnTo>
                <a:lnTo>
                  <a:pt x="652" y="1235"/>
                </a:lnTo>
                <a:lnTo>
                  <a:pt x="648" y="1235"/>
                </a:lnTo>
                <a:lnTo>
                  <a:pt x="644" y="1234"/>
                </a:lnTo>
                <a:lnTo>
                  <a:pt x="636" y="1231"/>
                </a:lnTo>
                <a:lnTo>
                  <a:pt x="633" y="1229"/>
                </a:lnTo>
                <a:lnTo>
                  <a:pt x="629" y="1227"/>
                </a:lnTo>
                <a:lnTo>
                  <a:pt x="622" y="1222"/>
                </a:lnTo>
                <a:lnTo>
                  <a:pt x="619" y="1218"/>
                </a:lnTo>
                <a:lnTo>
                  <a:pt x="617" y="1215"/>
                </a:lnTo>
                <a:lnTo>
                  <a:pt x="615" y="1211"/>
                </a:lnTo>
                <a:lnTo>
                  <a:pt x="613" y="1208"/>
                </a:lnTo>
                <a:lnTo>
                  <a:pt x="611" y="1204"/>
                </a:lnTo>
                <a:lnTo>
                  <a:pt x="610" y="1200"/>
                </a:lnTo>
                <a:lnTo>
                  <a:pt x="609" y="1196"/>
                </a:lnTo>
                <a:lnTo>
                  <a:pt x="609" y="1192"/>
                </a:lnTo>
                <a:lnTo>
                  <a:pt x="609" y="1188"/>
                </a:lnTo>
                <a:lnTo>
                  <a:pt x="609" y="1185"/>
                </a:lnTo>
                <a:lnTo>
                  <a:pt x="610" y="1181"/>
                </a:lnTo>
                <a:lnTo>
                  <a:pt x="611" y="1177"/>
                </a:lnTo>
                <a:lnTo>
                  <a:pt x="613" y="1174"/>
                </a:lnTo>
                <a:lnTo>
                  <a:pt x="615" y="1170"/>
                </a:lnTo>
                <a:lnTo>
                  <a:pt x="617" y="1167"/>
                </a:lnTo>
                <a:lnTo>
                  <a:pt x="619" y="1164"/>
                </a:lnTo>
                <a:lnTo>
                  <a:pt x="692" y="10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61" tIns="45731" rIns="91461" bIns="45731" numCol="1" anchor="t" anchorCtr="0" compatLnSpc="1">
            <a:prstTxWarp prst="textNoShape">
              <a:avLst/>
            </a:prstTxWarp>
          </a:bodyPr>
          <a:lstStyle/>
          <a:p>
            <a:pPr defTabSz="914583" fontAlgn="auto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srgbClr val="3B4245"/>
              </a:solidFill>
              <a:latin typeface="Arial"/>
            </a:endParaRPr>
          </a:p>
        </p:txBody>
      </p:sp>
      <p:cxnSp>
        <p:nvCxnSpPr>
          <p:cNvPr id="55" name="Straight Connector 54"/>
          <p:cNvCxnSpPr>
            <a:cxnSpLocks/>
          </p:cNvCxnSpPr>
          <p:nvPr/>
        </p:nvCxnSpPr>
        <p:spPr>
          <a:xfrm>
            <a:off x="6218163" y="5410014"/>
            <a:ext cx="5832648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3CC88645-DE28-4B5A-B94A-F8777FBDC777}"/>
              </a:ext>
            </a:extLst>
          </p:cNvPr>
          <p:cNvSpPr txBox="1"/>
          <p:nvPr/>
        </p:nvSpPr>
        <p:spPr>
          <a:xfrm>
            <a:off x="6133591" y="5987239"/>
            <a:ext cx="5508612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1200" dirty="0">
                <a:solidFill>
                  <a:schemeClr val="tx2"/>
                </a:solidFill>
                <a:latin typeface="Arial"/>
                <a:cs typeface="Arial"/>
              </a:rPr>
              <a:t>* </a:t>
            </a:r>
            <a:r>
              <a:rPr lang="en-GB" sz="1000" dirty="0">
                <a:solidFill>
                  <a:schemeClr val="tx2"/>
                </a:solidFill>
                <a:latin typeface="Arial"/>
                <a:cs typeface="Arial"/>
              </a:rPr>
              <a:t>Use of the Content Management Dashboard (unlimited users), software and security updates, and 24/7 monitoring of the solution. Each service package also includes a monthly mobile data allowance, suitable for typical usage. </a:t>
            </a:r>
            <a:endParaRPr lang="en-FI" sz="10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001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close up of a computer&#10;&#10;Description automatically generated">
            <a:extLst>
              <a:ext uri="{FF2B5EF4-FFF2-40B4-BE49-F238E27FC236}">
                <a16:creationId xmlns:a16="http://schemas.microsoft.com/office/drawing/2014/main" id="{458D1CF0-CCB1-E047-8695-CD85353FF6D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" r="51"/>
          <a:stretch>
            <a:fillRect/>
          </a:stretch>
        </p:blipFill>
        <p:spPr/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715674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7" imgW="663" imgH="664" progId="TCLayout.ActiveDocument.1">
                  <p:embed/>
                </p:oleObj>
              </mc:Choice>
              <mc:Fallback>
                <p:oleObj name="think-cell Slide" r:id="rId7" imgW="663" imgH="66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77" y="99"/>
            <a:ext cx="158787" cy="15878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lang="en-US" sz="32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Text Placeholder 13"/>
          <p:cNvSpPr>
            <a:spLocks noGrp="1"/>
          </p:cNvSpPr>
          <p:nvPr>
            <p:ph type="body" idx="13"/>
          </p:nvPr>
        </p:nvSpPr>
        <p:spPr>
          <a:xfrm>
            <a:off x="409575" y="909444"/>
            <a:ext cx="10367650" cy="432060"/>
          </a:xfrm>
        </p:spPr>
        <p:txBody>
          <a:bodyPr/>
          <a:lstStyle/>
          <a:p>
            <a:r>
              <a:rPr lang="en-US" dirty="0"/>
              <a:t>Elevating building communication with Easy and efficient information sharing</a:t>
            </a:r>
            <a:endParaRPr lang="fi-FI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ONE Information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9A3023-0F32-44E4-87F5-D87FD42929CE}"/>
              </a:ext>
            </a:extLst>
          </p:cNvPr>
          <p:cNvSpPr txBox="1"/>
          <p:nvPr/>
        </p:nvSpPr>
        <p:spPr>
          <a:xfrm>
            <a:off x="4761085" y="5625974"/>
            <a:ext cx="206481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Building contacts, e.g. facility manager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6BC3AFD-3CDE-4FDE-A6FE-7DF29F8ED361}"/>
              </a:ext>
            </a:extLst>
          </p:cNvPr>
          <p:cNvCxnSpPr>
            <a:cxnSpLocks/>
          </p:cNvCxnSpPr>
          <p:nvPr/>
        </p:nvCxnSpPr>
        <p:spPr>
          <a:xfrm flipV="1">
            <a:off x="4761086" y="4874838"/>
            <a:ext cx="1" cy="751136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B9763EC-AE66-490C-920A-696D37E16A73}"/>
              </a:ext>
            </a:extLst>
          </p:cNvPr>
          <p:cNvSpPr txBox="1"/>
          <p:nvPr/>
        </p:nvSpPr>
        <p:spPr>
          <a:xfrm>
            <a:off x="7393693" y="3343350"/>
            <a:ext cx="2232286" cy="492443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Arial"/>
                <a:cs typeface="Arial"/>
              </a:rPr>
              <a:t>Rolling content, publish via online portal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B84264B-9FC6-4191-811D-67812AD6EC76}"/>
              </a:ext>
            </a:extLst>
          </p:cNvPr>
          <p:cNvCxnSpPr>
            <a:cxnSpLocks/>
          </p:cNvCxnSpPr>
          <p:nvPr/>
        </p:nvCxnSpPr>
        <p:spPr>
          <a:xfrm flipH="1">
            <a:off x="6457617" y="3603559"/>
            <a:ext cx="856798" cy="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B77AFDC6-4E8A-448C-A0D5-7140749E83D0}"/>
              </a:ext>
            </a:extLst>
          </p:cNvPr>
          <p:cNvSpPr txBox="1"/>
          <p:nvPr/>
        </p:nvSpPr>
        <p:spPr>
          <a:xfrm>
            <a:off x="409575" y="3482969"/>
            <a:ext cx="1541376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Weather, or tenant list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444307B-B646-45A6-8E4F-47BB38B02257}"/>
              </a:ext>
            </a:extLst>
          </p:cNvPr>
          <p:cNvCxnSpPr>
            <a:cxnSpLocks/>
          </p:cNvCxnSpPr>
          <p:nvPr/>
        </p:nvCxnSpPr>
        <p:spPr>
          <a:xfrm flipH="1">
            <a:off x="5593546" y="1629646"/>
            <a:ext cx="1454232" cy="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0169BF7-0468-4F0F-9590-94D7CEA57B5F}"/>
              </a:ext>
            </a:extLst>
          </p:cNvPr>
          <p:cNvCxnSpPr>
            <a:cxnSpLocks/>
          </p:cNvCxnSpPr>
          <p:nvPr/>
        </p:nvCxnSpPr>
        <p:spPr>
          <a:xfrm>
            <a:off x="1525043" y="3734930"/>
            <a:ext cx="574424" cy="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48695D25-7544-4379-A9F9-1DB4D879C785}"/>
              </a:ext>
            </a:extLst>
          </p:cNvPr>
          <p:cNvSpPr/>
          <p:nvPr/>
        </p:nvSpPr>
        <p:spPr>
          <a:xfrm>
            <a:off x="7111504" y="1359494"/>
            <a:ext cx="265838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Optional space for date, clock, and weather</a:t>
            </a:r>
            <a:endParaRPr lang="fi-FI" sz="1600" dirty="0">
              <a:solidFill>
                <a:schemeClr val="bg1"/>
              </a:solidFill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743A25C0-838F-4712-AB26-28A6C4AB038E}"/>
              </a:ext>
            </a:extLst>
          </p:cNvPr>
          <p:cNvCxnSpPr>
            <a:cxnSpLocks/>
          </p:cNvCxnSpPr>
          <p:nvPr/>
        </p:nvCxnSpPr>
        <p:spPr>
          <a:xfrm flipH="1">
            <a:off x="1764300" y="1634671"/>
            <a:ext cx="191281" cy="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>
            <a:extLst>
              <a:ext uri="{FF2B5EF4-FFF2-40B4-BE49-F238E27FC236}">
                <a16:creationId xmlns:a16="http://schemas.microsoft.com/office/drawing/2014/main" id="{0E6A6041-64AB-439F-BA45-9F9A97B078DD}"/>
              </a:ext>
            </a:extLst>
          </p:cNvPr>
          <p:cNvSpPr/>
          <p:nvPr/>
        </p:nvSpPr>
        <p:spPr>
          <a:xfrm>
            <a:off x="409575" y="1478537"/>
            <a:ext cx="1541376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Customer logo </a:t>
            </a:r>
            <a:endParaRPr lang="fi-FI" sz="1600" dirty="0"/>
          </a:p>
        </p:txBody>
      </p:sp>
      <p:sp>
        <p:nvSpPr>
          <p:cNvPr id="28" name="Oval 27"/>
          <p:cNvSpPr/>
          <p:nvPr/>
        </p:nvSpPr>
        <p:spPr>
          <a:xfrm>
            <a:off x="6169593" y="3463941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33" name="Oval 32"/>
          <p:cNvSpPr/>
          <p:nvPr/>
        </p:nvSpPr>
        <p:spPr>
          <a:xfrm>
            <a:off x="4621466" y="4595600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34" name="Oval 33"/>
          <p:cNvSpPr/>
          <p:nvPr/>
        </p:nvSpPr>
        <p:spPr>
          <a:xfrm>
            <a:off x="5311642" y="1495724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35" name="Oval 34"/>
          <p:cNvSpPr/>
          <p:nvPr/>
        </p:nvSpPr>
        <p:spPr>
          <a:xfrm>
            <a:off x="2099469" y="3589572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39" name="Oval 38"/>
          <p:cNvSpPr/>
          <p:nvPr/>
        </p:nvSpPr>
        <p:spPr>
          <a:xfrm>
            <a:off x="1965920" y="1495724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41" name="Date Placeholder 4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2FBF0A-C4F3-4ADB-BB08-121F57A1A413}" type="datetime3">
              <a:rPr lang="en-US" smtClean="0"/>
              <a:t>11 June 2020</a:t>
            </a:fld>
            <a:endParaRPr lang="en-US"/>
          </a:p>
        </p:txBody>
      </p:sp>
      <p:sp>
        <p:nvSpPr>
          <p:cNvPr id="42" name="Footer Placeholder 4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43" name="Slide Number Placeholder 4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3</a:t>
            </a:fld>
            <a:endParaRPr lang="en-US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D73D4B96-CB06-B04A-A209-DA0483E70A22}"/>
              </a:ext>
            </a:extLst>
          </p:cNvPr>
          <p:cNvCxnSpPr>
            <a:cxnSpLocks/>
          </p:cNvCxnSpPr>
          <p:nvPr/>
        </p:nvCxnSpPr>
        <p:spPr>
          <a:xfrm>
            <a:off x="1525043" y="2523075"/>
            <a:ext cx="574424" cy="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Oval 28">
            <a:extLst>
              <a:ext uri="{FF2B5EF4-FFF2-40B4-BE49-F238E27FC236}">
                <a16:creationId xmlns:a16="http://schemas.microsoft.com/office/drawing/2014/main" id="{472233E4-043B-674A-AA99-0F9954C2E92C}"/>
              </a:ext>
            </a:extLst>
          </p:cNvPr>
          <p:cNvSpPr/>
          <p:nvPr/>
        </p:nvSpPr>
        <p:spPr>
          <a:xfrm>
            <a:off x="2099469" y="2377717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DDB048C-787D-724D-9AEB-C635133DD84D}"/>
              </a:ext>
            </a:extLst>
          </p:cNvPr>
          <p:cNvSpPr txBox="1"/>
          <p:nvPr/>
        </p:nvSpPr>
        <p:spPr>
          <a:xfrm>
            <a:off x="409575" y="2367093"/>
            <a:ext cx="154137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Date, clock</a:t>
            </a:r>
          </a:p>
        </p:txBody>
      </p:sp>
    </p:spTree>
    <p:extLst>
      <p:ext uri="{BB962C8B-B14F-4D97-AF65-F5344CB8AC3E}">
        <p14:creationId xmlns:p14="http://schemas.microsoft.com/office/powerpoint/2010/main" val="161142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2005709"/>
              </p:ext>
            </p:extLst>
          </p:nvPr>
        </p:nvGraphicFramePr>
        <p:xfrm>
          <a:off x="1765" y="16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6" imgW="663" imgH="664" progId="TCLayout.ActiveDocument.1">
                  <p:embed/>
                </p:oleObj>
              </mc:Choice>
              <mc:Fallback>
                <p:oleObj name="think-cell Slide" r:id="rId6" imgW="663" imgH="66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65" y="16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177" y="99"/>
            <a:ext cx="158787" cy="15878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85000"/>
              </a:lnSpc>
            </a:pPr>
            <a:endParaRPr lang="en-US" sz="32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22" name="Picture Placeholder 21"/>
          <p:cNvPicPr>
            <a:picLocks noGrp="1" noChangeAspect="1"/>
          </p:cNvPicPr>
          <p:nvPr>
            <p:ph type="pic" sz="quarter" idx="18"/>
          </p:nvPr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76" y="0"/>
            <a:ext cx="12194822" cy="6859588"/>
          </a:xfrm>
        </p:spPr>
      </p:pic>
      <p:sp>
        <p:nvSpPr>
          <p:cNvPr id="16" name="Text Placeholder 15"/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high-quality 15” </a:t>
            </a:r>
            <a:r>
              <a:rPr lang="en-US" dirty="0" err="1"/>
              <a:t>mediascreen</a:t>
            </a:r>
            <a:r>
              <a:rPr lang="en-US" dirty="0"/>
              <a:t> 300 comes as part of the solution</a:t>
            </a:r>
            <a:endParaRPr lang="fi-FI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ONE Information </a:t>
            </a:r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9D9A3023-0F32-44E4-87F5-D87FD42929CE}"/>
              </a:ext>
            </a:extLst>
          </p:cNvPr>
          <p:cNvSpPr txBox="1"/>
          <p:nvPr/>
        </p:nvSpPr>
        <p:spPr>
          <a:xfrm>
            <a:off x="8437780" y="5267669"/>
            <a:ext cx="3312918" cy="646331"/>
          </a:xfrm>
          <a:prstGeom prst="rect">
            <a:avLst/>
          </a:prstGeom>
          <a:noFill/>
        </p:spPr>
        <p:txBody>
          <a:bodyPr wrap="square" lIns="91455" tIns="45728" rIns="91455" bIns="45728" rtlCol="0">
            <a:spAutoFit/>
          </a:bodyPr>
          <a:lstStyle/>
          <a:p>
            <a:r>
              <a:rPr lang="fi-FI" sz="1799" dirty="0">
                <a:solidFill>
                  <a:schemeClr val="bg1"/>
                </a:solidFill>
              </a:rPr>
              <a:t>Connectivity and </a:t>
            </a:r>
            <a:r>
              <a:rPr lang="fi-FI" sz="1799" dirty="0" err="1">
                <a:solidFill>
                  <a:schemeClr val="bg1"/>
                </a:solidFill>
              </a:rPr>
              <a:t>MediaPlayer</a:t>
            </a:r>
            <a:r>
              <a:rPr lang="fi-FI" sz="1799" dirty="0">
                <a:solidFill>
                  <a:schemeClr val="bg1"/>
                </a:solidFill>
              </a:rPr>
              <a:t> embedded in the display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6BC3AFD-3CDE-4FDE-A6FE-7DF29F8ED361}"/>
              </a:ext>
            </a:extLst>
          </p:cNvPr>
          <p:cNvCxnSpPr>
            <a:cxnSpLocks/>
          </p:cNvCxnSpPr>
          <p:nvPr/>
        </p:nvCxnSpPr>
        <p:spPr>
          <a:xfrm flipV="1">
            <a:off x="8623683" y="4193976"/>
            <a:ext cx="1" cy="103974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AB9763EC-AE66-490C-920A-696D37E16A73}"/>
              </a:ext>
            </a:extLst>
          </p:cNvPr>
          <p:cNvSpPr txBox="1"/>
          <p:nvPr/>
        </p:nvSpPr>
        <p:spPr>
          <a:xfrm>
            <a:off x="9409859" y="2059965"/>
            <a:ext cx="2160400" cy="369339"/>
          </a:xfrm>
          <a:prstGeom prst="rect">
            <a:avLst/>
          </a:prstGeom>
          <a:noFill/>
        </p:spPr>
        <p:txBody>
          <a:bodyPr wrap="square" lIns="91455" tIns="45728" rIns="91455" bIns="45728" rtlCol="0" anchor="t">
            <a:spAutoFit/>
          </a:bodyPr>
          <a:lstStyle/>
          <a:p>
            <a:r>
              <a:rPr lang="en-GB" sz="1750" dirty="0">
                <a:solidFill>
                  <a:schemeClr val="bg1"/>
                </a:solidFill>
                <a:latin typeface="Arial"/>
                <a:cs typeface="Arial"/>
              </a:rPr>
              <a:t>15’’ LCD display* </a:t>
            </a:r>
            <a:endParaRPr lang="fi-FI" sz="1799" dirty="0">
              <a:solidFill>
                <a:schemeClr val="bg1"/>
              </a:solidFill>
            </a:endParaRP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9B84264B-9FC6-4191-811D-67812AD6EC76}"/>
              </a:ext>
            </a:extLst>
          </p:cNvPr>
          <p:cNvCxnSpPr>
            <a:cxnSpLocks/>
          </p:cNvCxnSpPr>
          <p:nvPr/>
        </p:nvCxnSpPr>
        <p:spPr>
          <a:xfrm flipH="1">
            <a:off x="8613625" y="2244214"/>
            <a:ext cx="759734" cy="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C81C5412-ABCC-4797-8B4E-821568963972}"/>
              </a:ext>
            </a:extLst>
          </p:cNvPr>
          <p:cNvSpPr txBox="1"/>
          <p:nvPr/>
        </p:nvSpPr>
        <p:spPr>
          <a:xfrm>
            <a:off x="2381618" y="2097685"/>
            <a:ext cx="2815896" cy="369339"/>
          </a:xfrm>
          <a:prstGeom prst="rect">
            <a:avLst/>
          </a:prstGeom>
          <a:noFill/>
        </p:spPr>
        <p:txBody>
          <a:bodyPr wrap="square" lIns="91455" tIns="45728" rIns="91455" bIns="45728" rtlCol="0">
            <a:spAutoFit/>
          </a:bodyPr>
          <a:lstStyle/>
          <a:p>
            <a:pPr algn="r"/>
            <a:r>
              <a:rPr lang="fi-FI" sz="1799" dirty="0">
                <a:solidFill>
                  <a:schemeClr val="bg1"/>
                </a:solidFill>
              </a:rPr>
              <a:t>Wireless 4G connection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3444307B-B646-45A6-8E4F-47BB38B02257}"/>
              </a:ext>
            </a:extLst>
          </p:cNvPr>
          <p:cNvCxnSpPr>
            <a:cxnSpLocks/>
          </p:cNvCxnSpPr>
          <p:nvPr/>
        </p:nvCxnSpPr>
        <p:spPr>
          <a:xfrm flipH="1" flipV="1">
            <a:off x="5192146" y="2298534"/>
            <a:ext cx="831476" cy="1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70169BF7-0468-4F0F-9590-94D7CEA57B5F}"/>
              </a:ext>
            </a:extLst>
          </p:cNvPr>
          <p:cNvCxnSpPr>
            <a:cxnSpLocks/>
          </p:cNvCxnSpPr>
          <p:nvPr/>
        </p:nvCxnSpPr>
        <p:spPr>
          <a:xfrm>
            <a:off x="4420780" y="4128163"/>
            <a:ext cx="648995" cy="0"/>
          </a:xfrm>
          <a:prstGeom prst="line">
            <a:avLst/>
          </a:prstGeom>
          <a:ln w="12700" cap="rnd">
            <a:solidFill>
              <a:srgbClr val="FFFFFF">
                <a:alpha val="8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19D90F1E-D415-4937-9403-4D96CDE9BB4A}"/>
              </a:ext>
            </a:extLst>
          </p:cNvPr>
          <p:cNvSpPr/>
          <p:nvPr/>
        </p:nvSpPr>
        <p:spPr>
          <a:xfrm>
            <a:off x="2137262" y="3914738"/>
            <a:ext cx="2213361" cy="646331"/>
          </a:xfrm>
          <a:prstGeom prst="rect">
            <a:avLst/>
          </a:prstGeom>
          <a:noFill/>
        </p:spPr>
        <p:txBody>
          <a:bodyPr wrap="square" lIns="91455" tIns="45728" rIns="91455" bIns="45728" rtlCol="0">
            <a:spAutoFit/>
          </a:bodyPr>
          <a:lstStyle/>
          <a:p>
            <a:r>
              <a:rPr lang="pl-PL" sz="1799" dirty="0">
                <a:solidFill>
                  <a:schemeClr val="bg1"/>
                </a:solidFill>
              </a:rPr>
              <a:t>372 (W) x 296 (H) x 30.5 (D) mm</a:t>
            </a:r>
            <a:endParaRPr lang="en-US" sz="1799" dirty="0">
              <a:solidFill>
                <a:schemeClr val="bg1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6033842" y="2158916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27" name="Oval 26"/>
          <p:cNvSpPr/>
          <p:nvPr/>
        </p:nvSpPr>
        <p:spPr>
          <a:xfrm>
            <a:off x="8334386" y="2103892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28" name="Oval 27"/>
          <p:cNvSpPr/>
          <p:nvPr/>
        </p:nvSpPr>
        <p:spPr>
          <a:xfrm>
            <a:off x="8474007" y="3914737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29" name="Oval 28"/>
          <p:cNvSpPr/>
          <p:nvPr/>
        </p:nvSpPr>
        <p:spPr>
          <a:xfrm>
            <a:off x="5069774" y="3992991"/>
            <a:ext cx="279239" cy="279239"/>
          </a:xfrm>
          <a:prstGeom prst="ellipse">
            <a:avLst/>
          </a:prstGeom>
          <a:noFill/>
          <a:ln w="19050">
            <a:solidFill>
              <a:schemeClr val="bg1">
                <a:alpha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799"/>
          </a:p>
        </p:txBody>
      </p:sp>
      <p:sp>
        <p:nvSpPr>
          <p:cNvPr id="34" name="Date Placeholder 3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02C951-F3F5-4638-9CAC-3AF31774CC72}" type="datetime3">
              <a:rPr lang="en-US" smtClean="0"/>
              <a:t>11 June 2020</a:t>
            </a:fld>
            <a:endParaRPr lang="en-US"/>
          </a:p>
        </p:txBody>
      </p:sp>
      <p:sp>
        <p:nvSpPr>
          <p:cNvPr id="35" name="Footer Placeholder 3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36" name="Slide Number Placeholder 3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493CA71-392C-4086-A734-5B49B721CCDA}"/>
              </a:ext>
            </a:extLst>
          </p:cNvPr>
          <p:cNvSpPr/>
          <p:nvPr/>
        </p:nvSpPr>
        <p:spPr>
          <a:xfrm>
            <a:off x="279116" y="5302002"/>
            <a:ext cx="3958156" cy="1033843"/>
          </a:xfrm>
          <a:prstGeom prst="rect">
            <a:avLst/>
          </a:prstGeom>
          <a:solidFill>
            <a:schemeClr val="tx1">
              <a:lumMod val="20000"/>
              <a:lumOff val="8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195BC8D-13EF-49D9-927E-B3BFD4DDD668}"/>
              </a:ext>
            </a:extLst>
          </p:cNvPr>
          <p:cNvSpPr txBox="1"/>
          <p:nvPr/>
        </p:nvSpPr>
        <p:spPr>
          <a:xfrm>
            <a:off x="409738" y="5443913"/>
            <a:ext cx="3696912" cy="5847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1600" dirty="0" err="1">
                <a:latin typeface="Arial"/>
                <a:cs typeface="Arial"/>
              </a:rPr>
              <a:t>MediaScreen</a:t>
            </a:r>
            <a:r>
              <a:rPr lang="en-GB" sz="1600" dirty="0">
                <a:latin typeface="Arial"/>
                <a:cs typeface="Arial"/>
              </a:rPr>
              <a:t> 300 requires a current KONE Information service contract.</a:t>
            </a:r>
          </a:p>
        </p:txBody>
      </p:sp>
    </p:spTree>
    <p:extLst>
      <p:ext uri="{BB962C8B-B14F-4D97-AF65-F5344CB8AC3E}">
        <p14:creationId xmlns:p14="http://schemas.microsoft.com/office/powerpoint/2010/main" val="1425997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Placeholder 40">
            <a:extLst>
              <a:ext uri="{FF2B5EF4-FFF2-40B4-BE49-F238E27FC236}">
                <a16:creationId xmlns:a16="http://schemas.microsoft.com/office/drawing/2014/main" id="{27F927F8-AAE5-4CE2-9F08-F6961C8FBDDC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" b="87"/>
          <a:stretch>
            <a:fillRect/>
          </a:stretch>
        </p:blipFill>
        <p:spPr>
          <a:xfrm>
            <a:off x="0" y="0"/>
            <a:ext cx="12194822" cy="6859588"/>
          </a:xfr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18" r="41586"/>
          <a:stretch/>
        </p:blipFill>
        <p:spPr>
          <a:xfrm>
            <a:off x="6118554" y="-196"/>
            <a:ext cx="6084000" cy="6859588"/>
          </a:xfrm>
          <a:prstGeom prst="rect">
            <a:avLst/>
          </a:prstGeom>
        </p:spPr>
      </p:pic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66" y="16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66" y="16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00A645D-4F87-4E30-AA3B-82D6623CBE34}" type="datetime3">
              <a:rPr lang="en-US" smtClean="0"/>
              <a:t>11 June 2020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5</a:t>
            </a:fld>
            <a:endParaRPr lang="en-US" dirty="0"/>
          </a:p>
        </p:txBody>
      </p:sp>
      <p:grpSp>
        <p:nvGrpSpPr>
          <p:cNvPr id="8" name="Group 15"/>
          <p:cNvGrpSpPr>
            <a:grpSpLocks noChangeAspect="1"/>
          </p:cNvGrpSpPr>
          <p:nvPr/>
        </p:nvGrpSpPr>
        <p:grpSpPr>
          <a:xfrm>
            <a:off x="11066750" y="404847"/>
            <a:ext cx="720167" cy="364471"/>
            <a:chOff x="3498850" y="2112963"/>
            <a:chExt cx="5197475" cy="2630487"/>
          </a:xfrm>
        </p:grpSpPr>
        <p:sp>
          <p:nvSpPr>
            <p:cNvPr id="10" name="Freeform 6"/>
            <p:cNvSpPr>
              <a:spLocks noEditPoints="1"/>
            </p:cNvSpPr>
            <p:nvPr userDrawn="1"/>
          </p:nvSpPr>
          <p:spPr bwMode="auto">
            <a:xfrm>
              <a:off x="3498850" y="2112963"/>
              <a:ext cx="5197475" cy="2630487"/>
            </a:xfrm>
            <a:custGeom>
              <a:avLst/>
              <a:gdLst>
                <a:gd name="T0" fmla="*/ 0 w 3274"/>
                <a:gd name="T1" fmla="*/ 0 h 1657"/>
                <a:gd name="T2" fmla="*/ 761 w 3274"/>
                <a:gd name="T3" fmla="*/ 0 h 1657"/>
                <a:gd name="T4" fmla="*/ 761 w 3274"/>
                <a:gd name="T5" fmla="*/ 414 h 1657"/>
                <a:gd name="T6" fmla="*/ 761 w 3274"/>
                <a:gd name="T7" fmla="*/ 829 h 1657"/>
                <a:gd name="T8" fmla="*/ 761 w 3274"/>
                <a:gd name="T9" fmla="*/ 1243 h 1657"/>
                <a:gd name="T10" fmla="*/ 761 w 3274"/>
                <a:gd name="T11" fmla="*/ 1657 h 1657"/>
                <a:gd name="T12" fmla="*/ 0 w 3274"/>
                <a:gd name="T13" fmla="*/ 1657 h 1657"/>
                <a:gd name="T14" fmla="*/ 0 w 3274"/>
                <a:gd name="T15" fmla="*/ 1243 h 1657"/>
                <a:gd name="T16" fmla="*/ 0 w 3274"/>
                <a:gd name="T17" fmla="*/ 829 h 1657"/>
                <a:gd name="T18" fmla="*/ 0 w 3274"/>
                <a:gd name="T19" fmla="*/ 414 h 1657"/>
                <a:gd name="T20" fmla="*/ 0 w 3274"/>
                <a:gd name="T21" fmla="*/ 0 h 1657"/>
                <a:gd name="T22" fmla="*/ 1675 w 3274"/>
                <a:gd name="T23" fmla="*/ 0 h 1657"/>
                <a:gd name="T24" fmla="*/ 2436 w 3274"/>
                <a:gd name="T25" fmla="*/ 0 h 1657"/>
                <a:gd name="T26" fmla="*/ 2436 w 3274"/>
                <a:gd name="T27" fmla="*/ 414 h 1657"/>
                <a:gd name="T28" fmla="*/ 2436 w 3274"/>
                <a:gd name="T29" fmla="*/ 829 h 1657"/>
                <a:gd name="T30" fmla="*/ 2436 w 3274"/>
                <a:gd name="T31" fmla="*/ 1243 h 1657"/>
                <a:gd name="T32" fmla="*/ 2436 w 3274"/>
                <a:gd name="T33" fmla="*/ 1657 h 1657"/>
                <a:gd name="T34" fmla="*/ 1675 w 3274"/>
                <a:gd name="T35" fmla="*/ 1657 h 1657"/>
                <a:gd name="T36" fmla="*/ 1675 w 3274"/>
                <a:gd name="T37" fmla="*/ 1243 h 1657"/>
                <a:gd name="T38" fmla="*/ 1675 w 3274"/>
                <a:gd name="T39" fmla="*/ 829 h 1657"/>
                <a:gd name="T40" fmla="*/ 1675 w 3274"/>
                <a:gd name="T41" fmla="*/ 414 h 1657"/>
                <a:gd name="T42" fmla="*/ 1675 w 3274"/>
                <a:gd name="T43" fmla="*/ 0 h 1657"/>
                <a:gd name="T44" fmla="*/ 838 w 3274"/>
                <a:gd name="T45" fmla="*/ 0 h 1657"/>
                <a:gd name="T46" fmla="*/ 1599 w 3274"/>
                <a:gd name="T47" fmla="*/ 0 h 1657"/>
                <a:gd name="T48" fmla="*/ 1599 w 3274"/>
                <a:gd name="T49" fmla="*/ 414 h 1657"/>
                <a:gd name="T50" fmla="*/ 1599 w 3274"/>
                <a:gd name="T51" fmla="*/ 829 h 1657"/>
                <a:gd name="T52" fmla="*/ 1599 w 3274"/>
                <a:gd name="T53" fmla="*/ 1243 h 1657"/>
                <a:gd name="T54" fmla="*/ 1599 w 3274"/>
                <a:gd name="T55" fmla="*/ 1657 h 1657"/>
                <a:gd name="T56" fmla="*/ 838 w 3274"/>
                <a:gd name="T57" fmla="*/ 1657 h 1657"/>
                <a:gd name="T58" fmla="*/ 838 w 3274"/>
                <a:gd name="T59" fmla="*/ 1243 h 1657"/>
                <a:gd name="T60" fmla="*/ 838 w 3274"/>
                <a:gd name="T61" fmla="*/ 829 h 1657"/>
                <a:gd name="T62" fmla="*/ 838 w 3274"/>
                <a:gd name="T63" fmla="*/ 414 h 1657"/>
                <a:gd name="T64" fmla="*/ 838 w 3274"/>
                <a:gd name="T65" fmla="*/ 0 h 1657"/>
                <a:gd name="T66" fmla="*/ 2513 w 3274"/>
                <a:gd name="T67" fmla="*/ 0 h 1657"/>
                <a:gd name="T68" fmla="*/ 3274 w 3274"/>
                <a:gd name="T69" fmla="*/ 0 h 1657"/>
                <a:gd name="T70" fmla="*/ 3274 w 3274"/>
                <a:gd name="T71" fmla="*/ 414 h 1657"/>
                <a:gd name="T72" fmla="*/ 3274 w 3274"/>
                <a:gd name="T73" fmla="*/ 829 h 1657"/>
                <a:gd name="T74" fmla="*/ 3274 w 3274"/>
                <a:gd name="T75" fmla="*/ 1243 h 1657"/>
                <a:gd name="T76" fmla="*/ 3274 w 3274"/>
                <a:gd name="T77" fmla="*/ 1657 h 1657"/>
                <a:gd name="T78" fmla="*/ 2513 w 3274"/>
                <a:gd name="T79" fmla="*/ 1657 h 1657"/>
                <a:gd name="T80" fmla="*/ 2513 w 3274"/>
                <a:gd name="T81" fmla="*/ 1243 h 1657"/>
                <a:gd name="T82" fmla="*/ 2513 w 3274"/>
                <a:gd name="T83" fmla="*/ 829 h 1657"/>
                <a:gd name="T84" fmla="*/ 2513 w 3274"/>
                <a:gd name="T85" fmla="*/ 414 h 1657"/>
                <a:gd name="T86" fmla="*/ 2513 w 3274"/>
                <a:gd name="T87" fmla="*/ 0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274" h="1657">
                  <a:moveTo>
                    <a:pt x="0" y="0"/>
                  </a:moveTo>
                  <a:lnTo>
                    <a:pt x="761" y="0"/>
                  </a:lnTo>
                  <a:lnTo>
                    <a:pt x="761" y="414"/>
                  </a:lnTo>
                  <a:lnTo>
                    <a:pt x="761" y="829"/>
                  </a:lnTo>
                  <a:lnTo>
                    <a:pt x="761" y="1243"/>
                  </a:lnTo>
                  <a:lnTo>
                    <a:pt x="761" y="1657"/>
                  </a:lnTo>
                  <a:lnTo>
                    <a:pt x="0" y="1657"/>
                  </a:lnTo>
                  <a:lnTo>
                    <a:pt x="0" y="1243"/>
                  </a:lnTo>
                  <a:lnTo>
                    <a:pt x="0" y="829"/>
                  </a:lnTo>
                  <a:lnTo>
                    <a:pt x="0" y="414"/>
                  </a:lnTo>
                  <a:lnTo>
                    <a:pt x="0" y="0"/>
                  </a:lnTo>
                  <a:close/>
                  <a:moveTo>
                    <a:pt x="1675" y="0"/>
                  </a:moveTo>
                  <a:lnTo>
                    <a:pt x="2436" y="0"/>
                  </a:lnTo>
                  <a:lnTo>
                    <a:pt x="2436" y="414"/>
                  </a:lnTo>
                  <a:lnTo>
                    <a:pt x="2436" y="829"/>
                  </a:lnTo>
                  <a:lnTo>
                    <a:pt x="2436" y="1243"/>
                  </a:lnTo>
                  <a:lnTo>
                    <a:pt x="2436" y="1657"/>
                  </a:lnTo>
                  <a:lnTo>
                    <a:pt x="1675" y="1657"/>
                  </a:lnTo>
                  <a:lnTo>
                    <a:pt x="1675" y="1243"/>
                  </a:lnTo>
                  <a:lnTo>
                    <a:pt x="1675" y="829"/>
                  </a:lnTo>
                  <a:lnTo>
                    <a:pt x="1675" y="414"/>
                  </a:lnTo>
                  <a:lnTo>
                    <a:pt x="1675" y="0"/>
                  </a:lnTo>
                  <a:close/>
                  <a:moveTo>
                    <a:pt x="838" y="0"/>
                  </a:moveTo>
                  <a:lnTo>
                    <a:pt x="1599" y="0"/>
                  </a:lnTo>
                  <a:lnTo>
                    <a:pt x="1599" y="414"/>
                  </a:lnTo>
                  <a:lnTo>
                    <a:pt x="1599" y="829"/>
                  </a:lnTo>
                  <a:lnTo>
                    <a:pt x="1599" y="1243"/>
                  </a:lnTo>
                  <a:lnTo>
                    <a:pt x="1599" y="1657"/>
                  </a:lnTo>
                  <a:lnTo>
                    <a:pt x="838" y="1657"/>
                  </a:lnTo>
                  <a:lnTo>
                    <a:pt x="838" y="1243"/>
                  </a:lnTo>
                  <a:lnTo>
                    <a:pt x="838" y="829"/>
                  </a:lnTo>
                  <a:lnTo>
                    <a:pt x="838" y="414"/>
                  </a:lnTo>
                  <a:lnTo>
                    <a:pt x="838" y="0"/>
                  </a:lnTo>
                  <a:close/>
                  <a:moveTo>
                    <a:pt x="2513" y="0"/>
                  </a:moveTo>
                  <a:lnTo>
                    <a:pt x="3274" y="0"/>
                  </a:lnTo>
                  <a:lnTo>
                    <a:pt x="3274" y="414"/>
                  </a:lnTo>
                  <a:lnTo>
                    <a:pt x="3274" y="829"/>
                  </a:lnTo>
                  <a:lnTo>
                    <a:pt x="3274" y="1243"/>
                  </a:lnTo>
                  <a:lnTo>
                    <a:pt x="3274" y="1657"/>
                  </a:lnTo>
                  <a:lnTo>
                    <a:pt x="2513" y="1657"/>
                  </a:lnTo>
                  <a:lnTo>
                    <a:pt x="2513" y="1243"/>
                  </a:lnTo>
                  <a:lnTo>
                    <a:pt x="2513" y="829"/>
                  </a:lnTo>
                  <a:lnTo>
                    <a:pt x="2513" y="414"/>
                  </a:lnTo>
                  <a:lnTo>
                    <a:pt x="2513" y="0"/>
                  </a:lnTo>
                  <a:close/>
                </a:path>
              </a:pathLst>
            </a:custGeom>
            <a:solidFill>
              <a:srgbClr val="0071B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7" tIns="45719" rIns="91437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B4245"/>
                </a:solidFill>
              </a:endParaRPr>
            </a:p>
          </p:txBody>
        </p:sp>
        <p:sp>
          <p:nvSpPr>
            <p:cNvPr id="12" name="Freeform 7"/>
            <p:cNvSpPr>
              <a:spLocks noEditPoints="1"/>
            </p:cNvSpPr>
            <p:nvPr userDrawn="1"/>
          </p:nvSpPr>
          <p:spPr bwMode="auto">
            <a:xfrm>
              <a:off x="3673475" y="2916238"/>
              <a:ext cx="4800600" cy="1025525"/>
            </a:xfrm>
            <a:custGeom>
              <a:avLst/>
              <a:gdLst>
                <a:gd name="T0" fmla="*/ 1666 w 3024"/>
                <a:gd name="T1" fmla="*/ 636 h 646"/>
                <a:gd name="T2" fmla="*/ 2226 w 3024"/>
                <a:gd name="T3" fmla="*/ 17 h 646"/>
                <a:gd name="T4" fmla="*/ 1059 w 3024"/>
                <a:gd name="T5" fmla="*/ 3 h 646"/>
                <a:gd name="T6" fmla="*/ 982 w 3024"/>
                <a:gd name="T7" fmla="*/ 23 h 646"/>
                <a:gd name="T8" fmla="*/ 926 w 3024"/>
                <a:gd name="T9" fmla="*/ 51 h 646"/>
                <a:gd name="T10" fmla="*/ 867 w 3024"/>
                <a:gd name="T11" fmla="*/ 100 h 646"/>
                <a:gd name="T12" fmla="*/ 830 w 3024"/>
                <a:gd name="T13" fmla="*/ 149 h 646"/>
                <a:gd name="T14" fmla="*/ 797 w 3024"/>
                <a:gd name="T15" fmla="*/ 221 h 646"/>
                <a:gd name="T16" fmla="*/ 783 w 3024"/>
                <a:gd name="T17" fmla="*/ 304 h 646"/>
                <a:gd name="T18" fmla="*/ 789 w 3024"/>
                <a:gd name="T19" fmla="*/ 392 h 646"/>
                <a:gd name="T20" fmla="*/ 808 w 3024"/>
                <a:gd name="T21" fmla="*/ 454 h 646"/>
                <a:gd name="T22" fmla="*/ 847 w 3024"/>
                <a:gd name="T23" fmla="*/ 522 h 646"/>
                <a:gd name="T24" fmla="*/ 901 w 3024"/>
                <a:gd name="T25" fmla="*/ 576 h 646"/>
                <a:gd name="T26" fmla="*/ 967 w 3024"/>
                <a:gd name="T27" fmla="*/ 616 h 646"/>
                <a:gd name="T28" fmla="*/ 1027 w 3024"/>
                <a:gd name="T29" fmla="*/ 636 h 646"/>
                <a:gd name="T30" fmla="*/ 1109 w 3024"/>
                <a:gd name="T31" fmla="*/ 646 h 646"/>
                <a:gd name="T32" fmla="*/ 1191 w 3024"/>
                <a:gd name="T33" fmla="*/ 636 h 646"/>
                <a:gd name="T34" fmla="*/ 1258 w 3024"/>
                <a:gd name="T35" fmla="*/ 613 h 646"/>
                <a:gd name="T36" fmla="*/ 1317 w 3024"/>
                <a:gd name="T37" fmla="*/ 576 h 646"/>
                <a:gd name="T38" fmla="*/ 1371 w 3024"/>
                <a:gd name="T39" fmla="*/ 522 h 646"/>
                <a:gd name="T40" fmla="*/ 1403 w 3024"/>
                <a:gd name="T41" fmla="*/ 469 h 646"/>
                <a:gd name="T42" fmla="*/ 1429 w 3024"/>
                <a:gd name="T43" fmla="*/ 392 h 646"/>
                <a:gd name="T44" fmla="*/ 1435 w 3024"/>
                <a:gd name="T45" fmla="*/ 304 h 646"/>
                <a:gd name="T46" fmla="*/ 1425 w 3024"/>
                <a:gd name="T47" fmla="*/ 237 h 646"/>
                <a:gd name="T48" fmla="*/ 1396 w 3024"/>
                <a:gd name="T49" fmla="*/ 163 h 646"/>
                <a:gd name="T50" fmla="*/ 1351 w 3024"/>
                <a:gd name="T51" fmla="*/ 100 h 646"/>
                <a:gd name="T52" fmla="*/ 1292 w 3024"/>
                <a:gd name="T53" fmla="*/ 51 h 646"/>
                <a:gd name="T54" fmla="*/ 1236 w 3024"/>
                <a:gd name="T55" fmla="*/ 23 h 646"/>
                <a:gd name="T56" fmla="*/ 1159 w 3024"/>
                <a:gd name="T57" fmla="*/ 3 h 646"/>
                <a:gd name="T58" fmla="*/ 1267 w 3024"/>
                <a:gd name="T59" fmla="*/ 333 h 646"/>
                <a:gd name="T60" fmla="*/ 1261 w 3024"/>
                <a:gd name="T61" fmla="*/ 378 h 646"/>
                <a:gd name="T62" fmla="*/ 1241 w 3024"/>
                <a:gd name="T63" fmla="*/ 425 h 646"/>
                <a:gd name="T64" fmla="*/ 1216 w 3024"/>
                <a:gd name="T65" fmla="*/ 457 h 646"/>
                <a:gd name="T66" fmla="*/ 1178 w 3024"/>
                <a:gd name="T67" fmla="*/ 484 h 646"/>
                <a:gd name="T68" fmla="*/ 1141 w 3024"/>
                <a:gd name="T69" fmla="*/ 497 h 646"/>
                <a:gd name="T70" fmla="*/ 1084 w 3024"/>
                <a:gd name="T71" fmla="*/ 498 h 646"/>
                <a:gd name="T72" fmla="*/ 1046 w 3024"/>
                <a:gd name="T73" fmla="*/ 487 h 646"/>
                <a:gd name="T74" fmla="*/ 1013 w 3024"/>
                <a:gd name="T75" fmla="*/ 467 h 646"/>
                <a:gd name="T76" fmla="*/ 981 w 3024"/>
                <a:gd name="T77" fmla="*/ 432 h 646"/>
                <a:gd name="T78" fmla="*/ 963 w 3024"/>
                <a:gd name="T79" fmla="*/ 395 h 646"/>
                <a:gd name="T80" fmla="*/ 952 w 3024"/>
                <a:gd name="T81" fmla="*/ 352 h 646"/>
                <a:gd name="T82" fmla="*/ 951 w 3024"/>
                <a:gd name="T83" fmla="*/ 303 h 646"/>
                <a:gd name="T84" fmla="*/ 960 w 3024"/>
                <a:gd name="T85" fmla="*/ 258 h 646"/>
                <a:gd name="T86" fmla="*/ 981 w 3024"/>
                <a:gd name="T87" fmla="*/ 213 h 646"/>
                <a:gd name="T88" fmla="*/ 1007 w 3024"/>
                <a:gd name="T89" fmla="*/ 183 h 646"/>
                <a:gd name="T90" fmla="*/ 1046 w 3024"/>
                <a:gd name="T91" fmla="*/ 158 h 646"/>
                <a:gd name="T92" fmla="*/ 1084 w 3024"/>
                <a:gd name="T93" fmla="*/ 147 h 646"/>
                <a:gd name="T94" fmla="*/ 1141 w 3024"/>
                <a:gd name="T95" fmla="*/ 149 h 646"/>
                <a:gd name="T96" fmla="*/ 1178 w 3024"/>
                <a:gd name="T97" fmla="*/ 161 h 646"/>
                <a:gd name="T98" fmla="*/ 1211 w 3024"/>
                <a:gd name="T99" fmla="*/ 183 h 646"/>
                <a:gd name="T100" fmla="*/ 1241 w 3024"/>
                <a:gd name="T101" fmla="*/ 220 h 646"/>
                <a:gd name="T102" fmla="*/ 1258 w 3024"/>
                <a:gd name="T103" fmla="*/ 258 h 646"/>
                <a:gd name="T104" fmla="*/ 1267 w 3024"/>
                <a:gd name="T105" fmla="*/ 303 h 646"/>
                <a:gd name="T106" fmla="*/ 2986 w 3024"/>
                <a:gd name="T107" fmla="*/ 391 h 646"/>
                <a:gd name="T108" fmla="*/ 3024 w 3024"/>
                <a:gd name="T109" fmla="*/ 17 h 646"/>
                <a:gd name="T110" fmla="*/ 2714 w 3024"/>
                <a:gd name="T111" fmla="*/ 496 h 646"/>
                <a:gd name="T112" fmla="*/ 168 w 3024"/>
                <a:gd name="T113" fmla="*/ 287 h 646"/>
                <a:gd name="T114" fmla="*/ 168 w 3024"/>
                <a:gd name="T115" fmla="*/ 344 h 6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4" h="646">
                  <a:moveTo>
                    <a:pt x="2070" y="17"/>
                  </a:moveTo>
                  <a:lnTo>
                    <a:pt x="2070" y="319"/>
                  </a:lnTo>
                  <a:lnTo>
                    <a:pt x="1762" y="17"/>
                  </a:lnTo>
                  <a:lnTo>
                    <a:pt x="1666" y="17"/>
                  </a:lnTo>
                  <a:lnTo>
                    <a:pt x="1666" y="636"/>
                  </a:lnTo>
                  <a:lnTo>
                    <a:pt x="1821" y="636"/>
                  </a:lnTo>
                  <a:lnTo>
                    <a:pt x="1821" y="323"/>
                  </a:lnTo>
                  <a:lnTo>
                    <a:pt x="2141" y="636"/>
                  </a:lnTo>
                  <a:lnTo>
                    <a:pt x="2226" y="636"/>
                  </a:lnTo>
                  <a:lnTo>
                    <a:pt x="2226" y="17"/>
                  </a:lnTo>
                  <a:lnTo>
                    <a:pt x="2070" y="17"/>
                  </a:lnTo>
                  <a:close/>
                  <a:moveTo>
                    <a:pt x="1109" y="0"/>
                  </a:moveTo>
                  <a:lnTo>
                    <a:pt x="1092" y="0"/>
                  </a:lnTo>
                  <a:lnTo>
                    <a:pt x="1075" y="1"/>
                  </a:lnTo>
                  <a:lnTo>
                    <a:pt x="1059" y="3"/>
                  </a:lnTo>
                  <a:lnTo>
                    <a:pt x="1043" y="6"/>
                  </a:lnTo>
                  <a:lnTo>
                    <a:pt x="1027" y="9"/>
                  </a:lnTo>
                  <a:lnTo>
                    <a:pt x="1012" y="13"/>
                  </a:lnTo>
                  <a:lnTo>
                    <a:pt x="996" y="18"/>
                  </a:lnTo>
                  <a:lnTo>
                    <a:pt x="982" y="23"/>
                  </a:lnTo>
                  <a:lnTo>
                    <a:pt x="967" y="29"/>
                  </a:lnTo>
                  <a:lnTo>
                    <a:pt x="960" y="32"/>
                  </a:lnTo>
                  <a:lnTo>
                    <a:pt x="953" y="36"/>
                  </a:lnTo>
                  <a:lnTo>
                    <a:pt x="939" y="43"/>
                  </a:lnTo>
                  <a:lnTo>
                    <a:pt x="926" y="51"/>
                  </a:lnTo>
                  <a:lnTo>
                    <a:pt x="913" y="60"/>
                  </a:lnTo>
                  <a:lnTo>
                    <a:pt x="901" y="69"/>
                  </a:lnTo>
                  <a:lnTo>
                    <a:pt x="889" y="79"/>
                  </a:lnTo>
                  <a:lnTo>
                    <a:pt x="878" y="89"/>
                  </a:lnTo>
                  <a:lnTo>
                    <a:pt x="867" y="100"/>
                  </a:lnTo>
                  <a:lnTo>
                    <a:pt x="857" y="111"/>
                  </a:lnTo>
                  <a:lnTo>
                    <a:pt x="847" y="123"/>
                  </a:lnTo>
                  <a:lnTo>
                    <a:pt x="842" y="130"/>
                  </a:lnTo>
                  <a:lnTo>
                    <a:pt x="838" y="136"/>
                  </a:lnTo>
                  <a:lnTo>
                    <a:pt x="830" y="149"/>
                  </a:lnTo>
                  <a:lnTo>
                    <a:pt x="822" y="163"/>
                  </a:lnTo>
                  <a:lnTo>
                    <a:pt x="814" y="177"/>
                  </a:lnTo>
                  <a:lnTo>
                    <a:pt x="808" y="191"/>
                  </a:lnTo>
                  <a:lnTo>
                    <a:pt x="802" y="206"/>
                  </a:lnTo>
                  <a:lnTo>
                    <a:pt x="797" y="221"/>
                  </a:lnTo>
                  <a:lnTo>
                    <a:pt x="793" y="237"/>
                  </a:lnTo>
                  <a:lnTo>
                    <a:pt x="789" y="253"/>
                  </a:lnTo>
                  <a:lnTo>
                    <a:pt x="786" y="270"/>
                  </a:lnTo>
                  <a:lnTo>
                    <a:pt x="784" y="287"/>
                  </a:lnTo>
                  <a:lnTo>
                    <a:pt x="783" y="304"/>
                  </a:lnTo>
                  <a:lnTo>
                    <a:pt x="782" y="323"/>
                  </a:lnTo>
                  <a:lnTo>
                    <a:pt x="783" y="341"/>
                  </a:lnTo>
                  <a:lnTo>
                    <a:pt x="784" y="358"/>
                  </a:lnTo>
                  <a:lnTo>
                    <a:pt x="786" y="375"/>
                  </a:lnTo>
                  <a:lnTo>
                    <a:pt x="789" y="392"/>
                  </a:lnTo>
                  <a:lnTo>
                    <a:pt x="791" y="400"/>
                  </a:lnTo>
                  <a:lnTo>
                    <a:pt x="793" y="408"/>
                  </a:lnTo>
                  <a:lnTo>
                    <a:pt x="797" y="424"/>
                  </a:lnTo>
                  <a:lnTo>
                    <a:pt x="802" y="439"/>
                  </a:lnTo>
                  <a:lnTo>
                    <a:pt x="808" y="454"/>
                  </a:lnTo>
                  <a:lnTo>
                    <a:pt x="814" y="469"/>
                  </a:lnTo>
                  <a:lnTo>
                    <a:pt x="822" y="483"/>
                  </a:lnTo>
                  <a:lnTo>
                    <a:pt x="830" y="496"/>
                  </a:lnTo>
                  <a:lnTo>
                    <a:pt x="838" y="509"/>
                  </a:lnTo>
                  <a:lnTo>
                    <a:pt x="847" y="522"/>
                  </a:lnTo>
                  <a:lnTo>
                    <a:pt x="857" y="534"/>
                  </a:lnTo>
                  <a:lnTo>
                    <a:pt x="867" y="545"/>
                  </a:lnTo>
                  <a:lnTo>
                    <a:pt x="878" y="556"/>
                  </a:lnTo>
                  <a:lnTo>
                    <a:pt x="889" y="566"/>
                  </a:lnTo>
                  <a:lnTo>
                    <a:pt x="901" y="576"/>
                  </a:lnTo>
                  <a:lnTo>
                    <a:pt x="913" y="585"/>
                  </a:lnTo>
                  <a:lnTo>
                    <a:pt x="926" y="594"/>
                  </a:lnTo>
                  <a:lnTo>
                    <a:pt x="939" y="602"/>
                  </a:lnTo>
                  <a:lnTo>
                    <a:pt x="953" y="609"/>
                  </a:lnTo>
                  <a:lnTo>
                    <a:pt x="967" y="616"/>
                  </a:lnTo>
                  <a:lnTo>
                    <a:pt x="974" y="619"/>
                  </a:lnTo>
                  <a:lnTo>
                    <a:pt x="982" y="622"/>
                  </a:lnTo>
                  <a:lnTo>
                    <a:pt x="996" y="628"/>
                  </a:lnTo>
                  <a:lnTo>
                    <a:pt x="1012" y="632"/>
                  </a:lnTo>
                  <a:lnTo>
                    <a:pt x="1027" y="636"/>
                  </a:lnTo>
                  <a:lnTo>
                    <a:pt x="1043" y="640"/>
                  </a:lnTo>
                  <a:lnTo>
                    <a:pt x="1059" y="642"/>
                  </a:lnTo>
                  <a:lnTo>
                    <a:pt x="1075" y="644"/>
                  </a:lnTo>
                  <a:lnTo>
                    <a:pt x="1092" y="645"/>
                  </a:lnTo>
                  <a:lnTo>
                    <a:pt x="1109" y="646"/>
                  </a:lnTo>
                  <a:lnTo>
                    <a:pt x="1126" y="645"/>
                  </a:lnTo>
                  <a:lnTo>
                    <a:pt x="1142" y="644"/>
                  </a:lnTo>
                  <a:lnTo>
                    <a:pt x="1159" y="642"/>
                  </a:lnTo>
                  <a:lnTo>
                    <a:pt x="1175" y="640"/>
                  </a:lnTo>
                  <a:lnTo>
                    <a:pt x="1191" y="636"/>
                  </a:lnTo>
                  <a:lnTo>
                    <a:pt x="1206" y="632"/>
                  </a:lnTo>
                  <a:lnTo>
                    <a:pt x="1221" y="628"/>
                  </a:lnTo>
                  <a:lnTo>
                    <a:pt x="1236" y="622"/>
                  </a:lnTo>
                  <a:lnTo>
                    <a:pt x="1251" y="616"/>
                  </a:lnTo>
                  <a:lnTo>
                    <a:pt x="1258" y="613"/>
                  </a:lnTo>
                  <a:lnTo>
                    <a:pt x="1265" y="609"/>
                  </a:lnTo>
                  <a:lnTo>
                    <a:pt x="1279" y="602"/>
                  </a:lnTo>
                  <a:lnTo>
                    <a:pt x="1292" y="594"/>
                  </a:lnTo>
                  <a:lnTo>
                    <a:pt x="1305" y="585"/>
                  </a:lnTo>
                  <a:lnTo>
                    <a:pt x="1317" y="576"/>
                  </a:lnTo>
                  <a:lnTo>
                    <a:pt x="1329" y="566"/>
                  </a:lnTo>
                  <a:lnTo>
                    <a:pt x="1340" y="556"/>
                  </a:lnTo>
                  <a:lnTo>
                    <a:pt x="1351" y="545"/>
                  </a:lnTo>
                  <a:lnTo>
                    <a:pt x="1361" y="534"/>
                  </a:lnTo>
                  <a:lnTo>
                    <a:pt x="1371" y="522"/>
                  </a:lnTo>
                  <a:lnTo>
                    <a:pt x="1375" y="516"/>
                  </a:lnTo>
                  <a:lnTo>
                    <a:pt x="1380" y="509"/>
                  </a:lnTo>
                  <a:lnTo>
                    <a:pt x="1388" y="496"/>
                  </a:lnTo>
                  <a:lnTo>
                    <a:pt x="1396" y="483"/>
                  </a:lnTo>
                  <a:lnTo>
                    <a:pt x="1403" y="469"/>
                  </a:lnTo>
                  <a:lnTo>
                    <a:pt x="1410" y="454"/>
                  </a:lnTo>
                  <a:lnTo>
                    <a:pt x="1416" y="439"/>
                  </a:lnTo>
                  <a:lnTo>
                    <a:pt x="1421" y="424"/>
                  </a:lnTo>
                  <a:lnTo>
                    <a:pt x="1425" y="408"/>
                  </a:lnTo>
                  <a:lnTo>
                    <a:pt x="1429" y="392"/>
                  </a:lnTo>
                  <a:lnTo>
                    <a:pt x="1432" y="375"/>
                  </a:lnTo>
                  <a:lnTo>
                    <a:pt x="1434" y="358"/>
                  </a:lnTo>
                  <a:lnTo>
                    <a:pt x="1435" y="341"/>
                  </a:lnTo>
                  <a:lnTo>
                    <a:pt x="1435" y="323"/>
                  </a:lnTo>
                  <a:lnTo>
                    <a:pt x="1435" y="304"/>
                  </a:lnTo>
                  <a:lnTo>
                    <a:pt x="1434" y="287"/>
                  </a:lnTo>
                  <a:lnTo>
                    <a:pt x="1432" y="270"/>
                  </a:lnTo>
                  <a:lnTo>
                    <a:pt x="1429" y="253"/>
                  </a:lnTo>
                  <a:lnTo>
                    <a:pt x="1427" y="245"/>
                  </a:lnTo>
                  <a:lnTo>
                    <a:pt x="1425" y="237"/>
                  </a:lnTo>
                  <a:lnTo>
                    <a:pt x="1421" y="221"/>
                  </a:lnTo>
                  <a:lnTo>
                    <a:pt x="1416" y="206"/>
                  </a:lnTo>
                  <a:lnTo>
                    <a:pt x="1410" y="191"/>
                  </a:lnTo>
                  <a:lnTo>
                    <a:pt x="1403" y="177"/>
                  </a:lnTo>
                  <a:lnTo>
                    <a:pt x="1396" y="163"/>
                  </a:lnTo>
                  <a:lnTo>
                    <a:pt x="1388" y="149"/>
                  </a:lnTo>
                  <a:lnTo>
                    <a:pt x="1380" y="136"/>
                  </a:lnTo>
                  <a:lnTo>
                    <a:pt x="1371" y="123"/>
                  </a:lnTo>
                  <a:lnTo>
                    <a:pt x="1361" y="111"/>
                  </a:lnTo>
                  <a:lnTo>
                    <a:pt x="1351" y="100"/>
                  </a:lnTo>
                  <a:lnTo>
                    <a:pt x="1340" y="89"/>
                  </a:lnTo>
                  <a:lnTo>
                    <a:pt x="1329" y="79"/>
                  </a:lnTo>
                  <a:lnTo>
                    <a:pt x="1317" y="69"/>
                  </a:lnTo>
                  <a:lnTo>
                    <a:pt x="1305" y="60"/>
                  </a:lnTo>
                  <a:lnTo>
                    <a:pt x="1292" y="51"/>
                  </a:lnTo>
                  <a:lnTo>
                    <a:pt x="1279" y="43"/>
                  </a:lnTo>
                  <a:lnTo>
                    <a:pt x="1265" y="36"/>
                  </a:lnTo>
                  <a:lnTo>
                    <a:pt x="1251" y="29"/>
                  </a:lnTo>
                  <a:lnTo>
                    <a:pt x="1244" y="26"/>
                  </a:lnTo>
                  <a:lnTo>
                    <a:pt x="1236" y="23"/>
                  </a:lnTo>
                  <a:lnTo>
                    <a:pt x="1221" y="18"/>
                  </a:lnTo>
                  <a:lnTo>
                    <a:pt x="1206" y="13"/>
                  </a:lnTo>
                  <a:lnTo>
                    <a:pt x="1191" y="9"/>
                  </a:lnTo>
                  <a:lnTo>
                    <a:pt x="1175" y="6"/>
                  </a:lnTo>
                  <a:lnTo>
                    <a:pt x="1159" y="3"/>
                  </a:lnTo>
                  <a:lnTo>
                    <a:pt x="1142" y="1"/>
                  </a:lnTo>
                  <a:lnTo>
                    <a:pt x="1126" y="0"/>
                  </a:lnTo>
                  <a:lnTo>
                    <a:pt x="1109" y="0"/>
                  </a:lnTo>
                  <a:close/>
                  <a:moveTo>
                    <a:pt x="1268" y="323"/>
                  </a:moveTo>
                  <a:lnTo>
                    <a:pt x="1267" y="333"/>
                  </a:lnTo>
                  <a:lnTo>
                    <a:pt x="1267" y="342"/>
                  </a:lnTo>
                  <a:lnTo>
                    <a:pt x="1266" y="352"/>
                  </a:lnTo>
                  <a:lnTo>
                    <a:pt x="1264" y="361"/>
                  </a:lnTo>
                  <a:lnTo>
                    <a:pt x="1263" y="370"/>
                  </a:lnTo>
                  <a:lnTo>
                    <a:pt x="1261" y="378"/>
                  </a:lnTo>
                  <a:lnTo>
                    <a:pt x="1258" y="387"/>
                  </a:lnTo>
                  <a:lnTo>
                    <a:pt x="1255" y="395"/>
                  </a:lnTo>
                  <a:lnTo>
                    <a:pt x="1249" y="411"/>
                  </a:lnTo>
                  <a:lnTo>
                    <a:pt x="1245" y="418"/>
                  </a:lnTo>
                  <a:lnTo>
                    <a:pt x="1241" y="425"/>
                  </a:lnTo>
                  <a:lnTo>
                    <a:pt x="1237" y="432"/>
                  </a:lnTo>
                  <a:lnTo>
                    <a:pt x="1232" y="439"/>
                  </a:lnTo>
                  <a:lnTo>
                    <a:pt x="1227" y="445"/>
                  </a:lnTo>
                  <a:lnTo>
                    <a:pt x="1222" y="451"/>
                  </a:lnTo>
                  <a:lnTo>
                    <a:pt x="1216" y="457"/>
                  </a:lnTo>
                  <a:lnTo>
                    <a:pt x="1211" y="462"/>
                  </a:lnTo>
                  <a:lnTo>
                    <a:pt x="1205" y="467"/>
                  </a:lnTo>
                  <a:lnTo>
                    <a:pt x="1198" y="472"/>
                  </a:lnTo>
                  <a:lnTo>
                    <a:pt x="1185" y="480"/>
                  </a:lnTo>
                  <a:lnTo>
                    <a:pt x="1178" y="484"/>
                  </a:lnTo>
                  <a:lnTo>
                    <a:pt x="1171" y="487"/>
                  </a:lnTo>
                  <a:lnTo>
                    <a:pt x="1164" y="490"/>
                  </a:lnTo>
                  <a:lnTo>
                    <a:pt x="1157" y="493"/>
                  </a:lnTo>
                  <a:lnTo>
                    <a:pt x="1149" y="495"/>
                  </a:lnTo>
                  <a:lnTo>
                    <a:pt x="1141" y="497"/>
                  </a:lnTo>
                  <a:lnTo>
                    <a:pt x="1133" y="498"/>
                  </a:lnTo>
                  <a:lnTo>
                    <a:pt x="1125" y="499"/>
                  </a:lnTo>
                  <a:lnTo>
                    <a:pt x="1109" y="500"/>
                  </a:lnTo>
                  <a:lnTo>
                    <a:pt x="1092" y="499"/>
                  </a:lnTo>
                  <a:lnTo>
                    <a:pt x="1084" y="498"/>
                  </a:lnTo>
                  <a:lnTo>
                    <a:pt x="1076" y="497"/>
                  </a:lnTo>
                  <a:lnTo>
                    <a:pt x="1069" y="495"/>
                  </a:lnTo>
                  <a:lnTo>
                    <a:pt x="1061" y="493"/>
                  </a:lnTo>
                  <a:lnTo>
                    <a:pt x="1054" y="490"/>
                  </a:lnTo>
                  <a:lnTo>
                    <a:pt x="1046" y="487"/>
                  </a:lnTo>
                  <a:lnTo>
                    <a:pt x="1039" y="484"/>
                  </a:lnTo>
                  <a:lnTo>
                    <a:pt x="1033" y="480"/>
                  </a:lnTo>
                  <a:lnTo>
                    <a:pt x="1026" y="476"/>
                  </a:lnTo>
                  <a:lnTo>
                    <a:pt x="1019" y="472"/>
                  </a:lnTo>
                  <a:lnTo>
                    <a:pt x="1013" y="467"/>
                  </a:lnTo>
                  <a:lnTo>
                    <a:pt x="1007" y="462"/>
                  </a:lnTo>
                  <a:lnTo>
                    <a:pt x="1002" y="457"/>
                  </a:lnTo>
                  <a:lnTo>
                    <a:pt x="996" y="451"/>
                  </a:lnTo>
                  <a:lnTo>
                    <a:pt x="986" y="439"/>
                  </a:lnTo>
                  <a:lnTo>
                    <a:pt x="981" y="432"/>
                  </a:lnTo>
                  <a:lnTo>
                    <a:pt x="977" y="425"/>
                  </a:lnTo>
                  <a:lnTo>
                    <a:pt x="973" y="418"/>
                  </a:lnTo>
                  <a:lnTo>
                    <a:pt x="969" y="411"/>
                  </a:lnTo>
                  <a:lnTo>
                    <a:pt x="966" y="403"/>
                  </a:lnTo>
                  <a:lnTo>
                    <a:pt x="963" y="395"/>
                  </a:lnTo>
                  <a:lnTo>
                    <a:pt x="960" y="387"/>
                  </a:lnTo>
                  <a:lnTo>
                    <a:pt x="957" y="378"/>
                  </a:lnTo>
                  <a:lnTo>
                    <a:pt x="955" y="370"/>
                  </a:lnTo>
                  <a:lnTo>
                    <a:pt x="953" y="361"/>
                  </a:lnTo>
                  <a:lnTo>
                    <a:pt x="952" y="352"/>
                  </a:lnTo>
                  <a:lnTo>
                    <a:pt x="951" y="342"/>
                  </a:lnTo>
                  <a:lnTo>
                    <a:pt x="951" y="333"/>
                  </a:lnTo>
                  <a:lnTo>
                    <a:pt x="950" y="323"/>
                  </a:lnTo>
                  <a:lnTo>
                    <a:pt x="951" y="312"/>
                  </a:lnTo>
                  <a:lnTo>
                    <a:pt x="951" y="303"/>
                  </a:lnTo>
                  <a:lnTo>
                    <a:pt x="952" y="294"/>
                  </a:lnTo>
                  <a:lnTo>
                    <a:pt x="953" y="284"/>
                  </a:lnTo>
                  <a:lnTo>
                    <a:pt x="955" y="276"/>
                  </a:lnTo>
                  <a:lnTo>
                    <a:pt x="957" y="267"/>
                  </a:lnTo>
                  <a:lnTo>
                    <a:pt x="960" y="258"/>
                  </a:lnTo>
                  <a:lnTo>
                    <a:pt x="963" y="250"/>
                  </a:lnTo>
                  <a:lnTo>
                    <a:pt x="969" y="235"/>
                  </a:lnTo>
                  <a:lnTo>
                    <a:pt x="973" y="227"/>
                  </a:lnTo>
                  <a:lnTo>
                    <a:pt x="977" y="220"/>
                  </a:lnTo>
                  <a:lnTo>
                    <a:pt x="981" y="213"/>
                  </a:lnTo>
                  <a:lnTo>
                    <a:pt x="986" y="207"/>
                  </a:lnTo>
                  <a:lnTo>
                    <a:pt x="991" y="200"/>
                  </a:lnTo>
                  <a:lnTo>
                    <a:pt x="996" y="194"/>
                  </a:lnTo>
                  <a:lnTo>
                    <a:pt x="1002" y="189"/>
                  </a:lnTo>
                  <a:lnTo>
                    <a:pt x="1007" y="183"/>
                  </a:lnTo>
                  <a:lnTo>
                    <a:pt x="1013" y="178"/>
                  </a:lnTo>
                  <a:lnTo>
                    <a:pt x="1019" y="174"/>
                  </a:lnTo>
                  <a:lnTo>
                    <a:pt x="1033" y="165"/>
                  </a:lnTo>
                  <a:lnTo>
                    <a:pt x="1039" y="161"/>
                  </a:lnTo>
                  <a:lnTo>
                    <a:pt x="1046" y="158"/>
                  </a:lnTo>
                  <a:lnTo>
                    <a:pt x="1054" y="155"/>
                  </a:lnTo>
                  <a:lnTo>
                    <a:pt x="1061" y="153"/>
                  </a:lnTo>
                  <a:lnTo>
                    <a:pt x="1069" y="150"/>
                  </a:lnTo>
                  <a:lnTo>
                    <a:pt x="1076" y="149"/>
                  </a:lnTo>
                  <a:lnTo>
                    <a:pt x="1084" y="147"/>
                  </a:lnTo>
                  <a:lnTo>
                    <a:pt x="1092" y="146"/>
                  </a:lnTo>
                  <a:lnTo>
                    <a:pt x="1109" y="145"/>
                  </a:lnTo>
                  <a:lnTo>
                    <a:pt x="1125" y="146"/>
                  </a:lnTo>
                  <a:lnTo>
                    <a:pt x="1133" y="147"/>
                  </a:lnTo>
                  <a:lnTo>
                    <a:pt x="1141" y="149"/>
                  </a:lnTo>
                  <a:lnTo>
                    <a:pt x="1149" y="150"/>
                  </a:lnTo>
                  <a:lnTo>
                    <a:pt x="1157" y="153"/>
                  </a:lnTo>
                  <a:lnTo>
                    <a:pt x="1164" y="155"/>
                  </a:lnTo>
                  <a:lnTo>
                    <a:pt x="1171" y="158"/>
                  </a:lnTo>
                  <a:lnTo>
                    <a:pt x="1178" y="161"/>
                  </a:lnTo>
                  <a:lnTo>
                    <a:pt x="1185" y="165"/>
                  </a:lnTo>
                  <a:lnTo>
                    <a:pt x="1192" y="169"/>
                  </a:lnTo>
                  <a:lnTo>
                    <a:pt x="1198" y="174"/>
                  </a:lnTo>
                  <a:lnTo>
                    <a:pt x="1205" y="178"/>
                  </a:lnTo>
                  <a:lnTo>
                    <a:pt x="1211" y="183"/>
                  </a:lnTo>
                  <a:lnTo>
                    <a:pt x="1216" y="189"/>
                  </a:lnTo>
                  <a:lnTo>
                    <a:pt x="1222" y="194"/>
                  </a:lnTo>
                  <a:lnTo>
                    <a:pt x="1232" y="207"/>
                  </a:lnTo>
                  <a:lnTo>
                    <a:pt x="1237" y="213"/>
                  </a:lnTo>
                  <a:lnTo>
                    <a:pt x="1241" y="220"/>
                  </a:lnTo>
                  <a:lnTo>
                    <a:pt x="1245" y="227"/>
                  </a:lnTo>
                  <a:lnTo>
                    <a:pt x="1249" y="235"/>
                  </a:lnTo>
                  <a:lnTo>
                    <a:pt x="1252" y="242"/>
                  </a:lnTo>
                  <a:lnTo>
                    <a:pt x="1255" y="250"/>
                  </a:lnTo>
                  <a:lnTo>
                    <a:pt x="1258" y="258"/>
                  </a:lnTo>
                  <a:lnTo>
                    <a:pt x="1261" y="267"/>
                  </a:lnTo>
                  <a:lnTo>
                    <a:pt x="1263" y="276"/>
                  </a:lnTo>
                  <a:lnTo>
                    <a:pt x="1264" y="284"/>
                  </a:lnTo>
                  <a:lnTo>
                    <a:pt x="1266" y="294"/>
                  </a:lnTo>
                  <a:lnTo>
                    <a:pt x="1267" y="303"/>
                  </a:lnTo>
                  <a:lnTo>
                    <a:pt x="1267" y="312"/>
                  </a:lnTo>
                  <a:lnTo>
                    <a:pt x="1268" y="323"/>
                  </a:lnTo>
                  <a:close/>
                  <a:moveTo>
                    <a:pt x="2714" y="496"/>
                  </a:moveTo>
                  <a:lnTo>
                    <a:pt x="2714" y="391"/>
                  </a:lnTo>
                  <a:lnTo>
                    <a:pt x="2986" y="391"/>
                  </a:lnTo>
                  <a:lnTo>
                    <a:pt x="2986" y="258"/>
                  </a:lnTo>
                  <a:lnTo>
                    <a:pt x="2714" y="258"/>
                  </a:lnTo>
                  <a:lnTo>
                    <a:pt x="2714" y="154"/>
                  </a:lnTo>
                  <a:lnTo>
                    <a:pt x="3024" y="154"/>
                  </a:lnTo>
                  <a:lnTo>
                    <a:pt x="3024" y="17"/>
                  </a:lnTo>
                  <a:lnTo>
                    <a:pt x="2548" y="17"/>
                  </a:lnTo>
                  <a:lnTo>
                    <a:pt x="2548" y="636"/>
                  </a:lnTo>
                  <a:lnTo>
                    <a:pt x="3024" y="636"/>
                  </a:lnTo>
                  <a:lnTo>
                    <a:pt x="3024" y="496"/>
                  </a:lnTo>
                  <a:lnTo>
                    <a:pt x="2714" y="496"/>
                  </a:lnTo>
                  <a:close/>
                  <a:moveTo>
                    <a:pt x="589" y="636"/>
                  </a:moveTo>
                  <a:lnTo>
                    <a:pt x="344" y="308"/>
                  </a:lnTo>
                  <a:lnTo>
                    <a:pt x="573" y="17"/>
                  </a:lnTo>
                  <a:lnTo>
                    <a:pt x="375" y="17"/>
                  </a:lnTo>
                  <a:lnTo>
                    <a:pt x="168" y="287"/>
                  </a:lnTo>
                  <a:lnTo>
                    <a:pt x="168" y="17"/>
                  </a:lnTo>
                  <a:lnTo>
                    <a:pt x="0" y="17"/>
                  </a:lnTo>
                  <a:lnTo>
                    <a:pt x="0" y="636"/>
                  </a:lnTo>
                  <a:lnTo>
                    <a:pt x="168" y="636"/>
                  </a:lnTo>
                  <a:lnTo>
                    <a:pt x="168" y="344"/>
                  </a:lnTo>
                  <a:lnTo>
                    <a:pt x="383" y="636"/>
                  </a:lnTo>
                  <a:lnTo>
                    <a:pt x="589" y="6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37" tIns="45719" rIns="91437" bIns="45719" numCol="1" anchor="t" anchorCtr="0" compatLnSpc="1">
              <a:prstTxWarp prst="textNoShape">
                <a:avLst/>
              </a:prstTxWarp>
            </a:bodyPr>
            <a:lstStyle/>
            <a:p>
              <a:endParaRPr lang="en-US" sz="1799" dirty="0">
                <a:solidFill>
                  <a:srgbClr val="3B4245"/>
                </a:solidFill>
              </a:endParaRPr>
            </a:p>
          </p:txBody>
        </p:sp>
      </p:grpSp>
      <p:sp>
        <p:nvSpPr>
          <p:cNvPr id="15" name="Title 5"/>
          <p:cNvSpPr txBox="1">
            <a:spLocks/>
          </p:cNvSpPr>
          <p:nvPr/>
        </p:nvSpPr>
        <p:spPr>
          <a:xfrm>
            <a:off x="275" y="3825828"/>
            <a:ext cx="6097313" cy="3033662"/>
          </a:xfrm>
          <a:prstGeom prst="rect">
            <a:avLst/>
          </a:prstGeom>
          <a:gradFill>
            <a:gsLst>
              <a:gs pos="57000">
                <a:srgbClr val="191400">
                  <a:alpha val="40000"/>
                </a:srgbClr>
              </a:gs>
              <a:gs pos="0">
                <a:srgbClr val="191400">
                  <a:alpha val="60000"/>
                </a:srgbClr>
              </a:gs>
              <a:gs pos="97000">
                <a:srgbClr val="191400">
                  <a:alpha val="0"/>
                </a:srgbClr>
              </a:gs>
            </a:gsLst>
            <a:lin ang="16200000" scaled="1"/>
          </a:gradFill>
        </p:spPr>
        <p:txBody>
          <a:bodyPr vert="horz" lIns="395989" tIns="755978" rIns="395989" bIns="251992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400"/>
              </a:spcBef>
              <a:buNone/>
              <a:defRPr lang="en-US" sz="2400" kern="1200" cap="none" spc="0" baseline="0" noProof="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2800" spc="-20" dirty="0">
                <a:solidFill>
                  <a:schemeClr val="bg1"/>
                </a:solidFill>
              </a:rPr>
              <a:t>KONE MediaScreen 300</a:t>
            </a:r>
          </a:p>
          <a:p>
            <a:pPr>
              <a:lnSpc>
                <a:spcPct val="110000"/>
              </a:lnSpc>
            </a:pPr>
            <a:r>
              <a:rPr lang="en-US" sz="1799" spc="-20" dirty="0">
                <a:solidFill>
                  <a:schemeClr val="bg1"/>
                </a:solidFill>
              </a:rPr>
              <a:t>A MediaScreen in your elevator allows residents </a:t>
            </a:r>
            <a:br>
              <a:rPr lang="en-US" sz="1799" spc="-20" dirty="0">
                <a:solidFill>
                  <a:schemeClr val="bg1"/>
                </a:solidFill>
              </a:rPr>
            </a:br>
            <a:r>
              <a:rPr lang="en-US" sz="1799" spc="-20" dirty="0">
                <a:solidFill>
                  <a:schemeClr val="bg1"/>
                </a:solidFill>
              </a:rPr>
              <a:t>to read important messages during their elevator ride. Can be installed in most KONE and non-KONE elevators.* 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Confidential  |  © KONE Corporation</a:t>
            </a:r>
          </a:p>
        </p:txBody>
      </p:sp>
      <p:sp>
        <p:nvSpPr>
          <p:cNvPr id="14" name="Title 5"/>
          <p:cNvSpPr txBox="1">
            <a:spLocks/>
          </p:cNvSpPr>
          <p:nvPr/>
        </p:nvSpPr>
        <p:spPr>
          <a:xfrm>
            <a:off x="6097864" y="3825730"/>
            <a:ext cx="6097311" cy="3033662"/>
          </a:xfrm>
          <a:prstGeom prst="rect">
            <a:avLst/>
          </a:prstGeom>
          <a:gradFill>
            <a:gsLst>
              <a:gs pos="57000">
                <a:srgbClr val="191400">
                  <a:alpha val="40000"/>
                </a:srgbClr>
              </a:gs>
              <a:gs pos="0">
                <a:srgbClr val="191400">
                  <a:alpha val="60000"/>
                </a:srgbClr>
              </a:gs>
              <a:gs pos="97000">
                <a:srgbClr val="191400">
                  <a:alpha val="0"/>
                </a:srgbClr>
              </a:gs>
            </a:gsLst>
            <a:lin ang="16200000" scaled="1"/>
          </a:gradFill>
        </p:spPr>
        <p:txBody>
          <a:bodyPr vert="horz" lIns="395989" tIns="755978" rIns="395989" bIns="251992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400"/>
              </a:spcBef>
              <a:buNone/>
              <a:defRPr lang="en-US" sz="2400" kern="1200" cap="none" spc="0" baseline="0" noProof="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10000"/>
              </a:lnSpc>
            </a:pPr>
            <a:r>
              <a:rPr lang="en-US" sz="2800" spc="-20" dirty="0">
                <a:solidFill>
                  <a:schemeClr val="bg1"/>
                </a:solidFill>
              </a:rPr>
              <a:t>KONE </a:t>
            </a:r>
            <a:r>
              <a:rPr lang="en-US" sz="2800" spc="-20" dirty="0" err="1">
                <a:solidFill>
                  <a:schemeClr val="bg1"/>
                </a:solidFill>
              </a:rPr>
              <a:t>MediaPlayer</a:t>
            </a:r>
            <a:r>
              <a:rPr lang="en-US" sz="2800" spc="-20" dirty="0">
                <a:solidFill>
                  <a:schemeClr val="bg1"/>
                </a:solidFill>
              </a:rPr>
              <a:t> 300</a:t>
            </a:r>
          </a:p>
          <a:p>
            <a:pPr>
              <a:lnSpc>
                <a:spcPct val="110000"/>
              </a:lnSpc>
            </a:pPr>
            <a:r>
              <a:rPr lang="en-US" sz="1799" spc="-20" dirty="0">
                <a:solidFill>
                  <a:schemeClr val="bg1"/>
                </a:solidFill>
              </a:rPr>
              <a:t>A MediaPlayer solution in your lobby allows information to be shared on a big screen, </a:t>
            </a:r>
            <a:br>
              <a:rPr lang="en-US" sz="1799" spc="-20" dirty="0">
                <a:solidFill>
                  <a:schemeClr val="bg1"/>
                </a:solidFill>
              </a:rPr>
            </a:br>
            <a:r>
              <a:rPr lang="en-US" sz="1799" spc="-20" dirty="0">
                <a:solidFill>
                  <a:schemeClr val="bg1"/>
                </a:solidFill>
              </a:rPr>
              <a:t>replacing traditional noticeboards that have </a:t>
            </a:r>
            <a:br>
              <a:rPr lang="en-US" sz="1799" spc="-20" dirty="0">
                <a:solidFill>
                  <a:schemeClr val="bg1"/>
                </a:solidFill>
              </a:rPr>
            </a:br>
            <a:r>
              <a:rPr lang="en-US" sz="1799" spc="-20" dirty="0">
                <a:solidFill>
                  <a:schemeClr val="bg1"/>
                </a:solidFill>
              </a:rPr>
              <a:t>to be updated manually.</a:t>
            </a:r>
          </a:p>
        </p:txBody>
      </p:sp>
      <p:pic>
        <p:nvPicPr>
          <p:cNvPr id="19" name="Picture Placeholder 12">
            <a:extLst>
              <a:ext uri="{FF2B5EF4-FFF2-40B4-BE49-F238E27FC236}">
                <a16:creationId xmlns:a16="http://schemas.microsoft.com/office/drawing/2014/main" id="{4A20BFCD-C727-45FE-A231-025107B7EF4D}"/>
              </a:ext>
            </a:extLst>
          </p:cNvPr>
          <p:cNvPicPr>
            <a:picLocks noGrp="1" noChangeAspect="1"/>
          </p:cNvPicPr>
          <p:nvPr>
            <p:ph type="pic" sz="quarter" idx="4294967295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984687" y="2981825"/>
            <a:ext cx="1683983" cy="1687810"/>
          </a:xfrm>
          <a:prstGeom prst="ellipse">
            <a:avLst/>
          </a:prstGeom>
          <a:noFill/>
          <a:ln w="38100">
            <a:solidFill>
              <a:schemeClr val="bg1"/>
            </a:solidFill>
          </a:ln>
          <a:effectLst>
            <a:outerShdw blurRad="127000" dist="63500" dir="4200000" sx="104000" sy="104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CBBB2447-A52A-4C37-B8F9-34FC361DE0C4}"/>
              </a:ext>
            </a:extLst>
          </p:cNvPr>
          <p:cNvSpPr txBox="1"/>
          <p:nvPr/>
        </p:nvSpPr>
        <p:spPr>
          <a:xfrm>
            <a:off x="305047" y="259827"/>
            <a:ext cx="7545546" cy="5849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1" dirty="0">
                <a:solidFill>
                  <a:schemeClr val="bg1"/>
                </a:solidFill>
                <a:latin typeface="+mj-lt"/>
              </a:rPr>
              <a:t>KONE Information hardware options</a:t>
            </a:r>
          </a:p>
        </p:txBody>
      </p:sp>
      <p:sp>
        <p:nvSpPr>
          <p:cNvPr id="17" name="Title 6">
            <a:extLst>
              <a:ext uri="{FF2B5EF4-FFF2-40B4-BE49-F238E27FC236}">
                <a16:creationId xmlns:a16="http://schemas.microsoft.com/office/drawing/2014/main" id="{917CF55F-5CC4-4498-8D1F-396F14903E25}"/>
              </a:ext>
            </a:extLst>
          </p:cNvPr>
          <p:cNvSpPr txBox="1">
            <a:spLocks/>
          </p:cNvSpPr>
          <p:nvPr/>
        </p:nvSpPr>
        <p:spPr>
          <a:xfrm>
            <a:off x="403584" y="6448094"/>
            <a:ext cx="5405971" cy="330072"/>
          </a:xfrm>
          <a:prstGeom prst="rect">
            <a:avLst/>
          </a:prstGeom>
          <a:solidFill>
            <a:schemeClr val="bg1">
              <a:alpha val="80000"/>
            </a:schemeClr>
          </a:solidFill>
        </p:spPr>
        <p:txBody>
          <a:bodyPr vert="horz" wrap="square" lIns="72000" tIns="72000" rIns="72000" bIns="72000" rtlCol="0" anchor="t" anchorCtr="0">
            <a:sp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lang="en-US" sz="3200" kern="1200" cap="none" spc="0" baseline="0" noProof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sz="1200" dirty="0">
                <a:solidFill>
                  <a:srgbClr val="0071B9"/>
                </a:solidFill>
                <a:latin typeface="Arial" charset="0"/>
                <a:ea typeface="+mn-ea"/>
                <a:cs typeface="+mn-cs"/>
              </a:rPr>
              <a:t>* </a:t>
            </a:r>
            <a:r>
              <a:rPr lang="en-US" sz="1000" dirty="0">
                <a:solidFill>
                  <a:srgbClr val="0071B9"/>
                </a:solidFill>
                <a:latin typeface="Arial" charset="0"/>
                <a:ea typeface="+mn-ea"/>
                <a:cs typeface="+mn-cs"/>
              </a:rPr>
              <a:t>Please see KONE Information technical information for elevator-platform related limitations</a:t>
            </a:r>
            <a:endParaRPr lang="en-US" sz="18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18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Content Placeholder 1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0882234"/>
              </p:ext>
            </p:extLst>
          </p:nvPr>
        </p:nvGraphicFramePr>
        <p:xfrm>
          <a:off x="409575" y="1628775"/>
          <a:ext cx="10367963" cy="3737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26359">
                  <a:extLst>
                    <a:ext uri="{9D8B030D-6E8A-4147-A177-3AD203B41FA5}">
                      <a16:colId xmlns:a16="http://schemas.microsoft.com/office/drawing/2014/main" val="4079469208"/>
                    </a:ext>
                  </a:extLst>
                </a:gridCol>
                <a:gridCol w="1796697">
                  <a:extLst>
                    <a:ext uri="{9D8B030D-6E8A-4147-A177-3AD203B41FA5}">
                      <a16:colId xmlns:a16="http://schemas.microsoft.com/office/drawing/2014/main" val="2793962421"/>
                    </a:ext>
                  </a:extLst>
                </a:gridCol>
                <a:gridCol w="1796697">
                  <a:extLst>
                    <a:ext uri="{9D8B030D-6E8A-4147-A177-3AD203B41FA5}">
                      <a16:colId xmlns:a16="http://schemas.microsoft.com/office/drawing/2014/main" val="2131229640"/>
                    </a:ext>
                  </a:extLst>
                </a:gridCol>
                <a:gridCol w="1648210">
                  <a:extLst>
                    <a:ext uri="{9D8B030D-6E8A-4147-A177-3AD203B41FA5}">
                      <a16:colId xmlns:a16="http://schemas.microsoft.com/office/drawing/2014/main" val="5466288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eaLnBrk="1" fontAlgn="b"/>
                      <a:r>
                        <a:rPr lang="en-US" sz="1800" b="1" u="none" strike="noStrike" noProof="0" dirty="0">
                          <a:solidFill>
                            <a:schemeClr val="tx2"/>
                          </a:solidFill>
                          <a:effectLst/>
                        </a:rPr>
                        <a:t>Features</a:t>
                      </a:r>
                      <a:endParaRPr lang="en-US" sz="1800" b="1" i="0" u="none" strike="noStrike" noProof="0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Light</a:t>
                      </a:r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Standard</a:t>
                      </a:r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800" b="1" u="none" strike="noStrike" dirty="0">
                          <a:solidFill>
                            <a:schemeClr val="tx2"/>
                          </a:solidFill>
                          <a:effectLst/>
                        </a:rPr>
                        <a:t>Premium</a:t>
                      </a:r>
                      <a:endParaRPr lang="en-US" sz="1800" b="1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84786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kern="1200" dirty="0">
                          <a:solidFill>
                            <a:schemeClr val="tx2"/>
                          </a:solidFill>
                          <a:effectLst/>
                        </a:rPr>
                        <a:t>KONE content </a:t>
                      </a:r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management system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61108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800" b="0" i="0" u="none" strike="noStrike" noProof="0" dirty="0">
                          <a:solidFill>
                            <a:srgbClr val="0071B7"/>
                          </a:solidFill>
                          <a:effectLst/>
                          <a:latin typeface="Arial"/>
                        </a:rPr>
                        <a:t>Connectivity and data transfer*</a:t>
                      </a:r>
                      <a:endParaRPr lang="en-US" dirty="0">
                        <a:solidFill>
                          <a:srgbClr val="0071B7"/>
                        </a:solidFill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75229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Software and security updates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74724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Facility manager messaging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320682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Text and pictures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74417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Weather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21408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RSS feed (For showing third-party news etc.)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u="none" strike="noStrike" kern="1200" dirty="0">
                        <a:solidFill>
                          <a:schemeClr val="accent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267882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Traffic information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05800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u="none" strike="noStrike" dirty="0">
                          <a:solidFill>
                            <a:schemeClr val="tx2"/>
                          </a:solidFill>
                          <a:effectLst/>
                        </a:rPr>
                        <a:t>Social media (Facebook,</a:t>
                      </a:r>
                      <a:r>
                        <a:rPr lang="en-US" sz="1800" u="none" strike="noStrike" baseline="0" dirty="0">
                          <a:solidFill>
                            <a:schemeClr val="tx2"/>
                          </a:solidFill>
                          <a:effectLst/>
                        </a:rPr>
                        <a:t> Instagram, Twitter)</a:t>
                      </a:r>
                      <a:endParaRPr lang="en-US" sz="1800" b="0" i="0" u="none" strike="noStrike" dirty="0">
                        <a:solidFill>
                          <a:schemeClr val="tx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eaLnBrk="1" fontAlgn="b"/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1" u="none" strike="noStrike" dirty="0">
                          <a:solidFill>
                            <a:schemeClr val="accent2"/>
                          </a:solidFill>
                          <a:effectLst/>
                          <a:sym typeface="Wingdings" panose="05000000000000000000" pitchFamily="2" charset="2"/>
                        </a:rPr>
                        <a:t></a:t>
                      </a:r>
                      <a:endParaRPr lang="en-US" sz="2000" b="1" i="0" u="none" strike="noStrike" dirty="0">
                        <a:solidFill>
                          <a:schemeClr val="accent2"/>
                        </a:solidFill>
                        <a:effectLst/>
                        <a:latin typeface="+mn-lt"/>
                      </a:endParaRPr>
                    </a:p>
                  </a:txBody>
                  <a:tcPr marL="72000" marR="72000" marT="36000" marB="36000" anchor="ctr"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8306455"/>
                  </a:ext>
                </a:extLst>
              </a:tr>
            </a:tbl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34BAE1-B70E-4F0F-9141-E601CC54D117}" type="datetime3">
              <a:rPr lang="en-US" noProof="0" smtClean="0"/>
              <a:t>11 June 2020</a:t>
            </a:fld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6</a:t>
            </a:fld>
            <a:endParaRPr lang="en-US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1841209-F1AB-4622-BC8D-3F16D7EE4A5E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/>
              <a:t>Three service packages tailored to your communication need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ONE Information </a:t>
            </a:r>
            <a:endParaRPr lang="en-GB" dirty="0"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0A9C785-B37D-4185-9B56-16D7AD7E0EBA}"/>
              </a:ext>
            </a:extLst>
          </p:cNvPr>
          <p:cNvSpPr txBox="1"/>
          <p:nvPr/>
        </p:nvSpPr>
        <p:spPr>
          <a:xfrm>
            <a:off x="336946" y="5589588"/>
            <a:ext cx="12097544" cy="830997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1200" dirty="0">
                <a:solidFill>
                  <a:schemeClr val="tx2"/>
                </a:solidFill>
                <a:latin typeface="Arial"/>
                <a:cs typeface="Arial"/>
              </a:rPr>
              <a:t>Included: Use of the Content Management Dashboard (unlimited users), software and security updates, 24/7 monitoring of the solution by KONE’s team. </a:t>
            </a:r>
            <a:endParaRPr lang="en-GB" dirty="0">
              <a:solidFill>
                <a:schemeClr val="tx2"/>
              </a:solidFill>
              <a:latin typeface="Arial"/>
              <a:cs typeface="Arial"/>
            </a:endParaRPr>
          </a:p>
          <a:p>
            <a:r>
              <a:rPr lang="en-GB" sz="1200" dirty="0">
                <a:solidFill>
                  <a:schemeClr val="tx2"/>
                </a:solidFill>
                <a:latin typeface="Arial"/>
                <a:cs typeface="Arial"/>
              </a:rPr>
              <a:t>* Each service package includes a monthly mobile data allowance, suitable for typical usage. Data usage exceeding the monthly allowance is invoiced to the customer in accordance with KONE’s current price list. </a:t>
            </a:r>
            <a:endParaRPr lang="en-GB" dirty="0">
              <a:solidFill>
                <a:schemeClr val="tx2"/>
              </a:solidFill>
              <a:latin typeface="Arial"/>
              <a:cs typeface="Arial"/>
            </a:endParaRPr>
          </a:p>
          <a:p>
            <a:r>
              <a:rPr lang="en-GB" sz="1200" dirty="0">
                <a:solidFill>
                  <a:schemeClr val="tx2"/>
                </a:solidFill>
                <a:latin typeface="Arial"/>
                <a:cs typeface="Arial"/>
              </a:rPr>
              <a:t>** RSS feed usage does not include any third-party licensing fees, these would need to be agreed separately between the customer and the content provider. </a:t>
            </a:r>
          </a:p>
        </p:txBody>
      </p:sp>
      <p:pic>
        <p:nvPicPr>
          <p:cNvPr id="8" name="Picture 7" descr="A close up of a sign&#10;&#10;Description generated with very high confidence">
            <a:extLst>
              <a:ext uri="{FF2B5EF4-FFF2-40B4-BE49-F238E27FC236}">
                <a16:creationId xmlns:a16="http://schemas.microsoft.com/office/drawing/2014/main" id="{A7573309-A06C-4179-81A3-11A08AA242D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0192" y="3495010"/>
            <a:ext cx="342979" cy="34297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99A88C5-B8B4-4719-B542-8005DD65A4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880" y="4274947"/>
            <a:ext cx="342979" cy="342979"/>
          </a:xfrm>
          <a:prstGeom prst="rect">
            <a:avLst/>
          </a:prstGeom>
        </p:spPr>
      </p:pic>
      <p:pic>
        <p:nvPicPr>
          <p:cNvPr id="10" name="Picture 9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BD1B52D0-5AE2-4E6E-9A98-2E62D275643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2664" y="4650889"/>
            <a:ext cx="342979" cy="34297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756BF44-8903-4823-ABB5-1D7ABFD0F2F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7480" y="5013970"/>
            <a:ext cx="342979" cy="342979"/>
          </a:xfrm>
          <a:prstGeom prst="rect">
            <a:avLst/>
          </a:prstGeom>
        </p:spPr>
      </p:pic>
      <p:pic>
        <p:nvPicPr>
          <p:cNvPr id="12" name="Picture 11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848261F0-EF68-4C2B-946C-AFB3CBBD26B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4304" y="3894805"/>
            <a:ext cx="342979" cy="342979"/>
          </a:xfrm>
          <a:prstGeom prst="rect">
            <a:avLst/>
          </a:prstGeom>
        </p:spPr>
      </p:pic>
      <p:pic>
        <p:nvPicPr>
          <p:cNvPr id="13" name="Picture 12" descr="A tennis racket&#10;&#10;Description generated with high confidence">
            <a:extLst>
              <a:ext uri="{FF2B5EF4-FFF2-40B4-BE49-F238E27FC236}">
                <a16:creationId xmlns:a16="http://schemas.microsoft.com/office/drawing/2014/main" id="{10F94611-71DB-4315-BBC0-FC8D1391EAD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390656" y="3105758"/>
            <a:ext cx="342978" cy="342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9843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4738EF0-B109-4AEE-882A-8A5576C0BF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38D59A-BE80-40CC-B879-51BC8D698C3A}" type="datetime3">
              <a:rPr lang="en-US" noProof="0" smtClean="0"/>
              <a:t>11 June 2020</a:t>
            </a:fld>
            <a:endParaRPr lang="en-US" noProof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F75CE5-641B-415D-92A6-2E762B480F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/>
              <a:t>Confidential  |  © KONE Corpor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9633810-89AD-4ACA-84C8-C335B9503F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noProof="0" smtClean="0"/>
              <a:pPr/>
              <a:t>7</a:t>
            </a:fld>
            <a:endParaRPr lang="en-US" noProof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2B19CF5-5D9B-441A-8EA7-C4A71F9A84F6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GB" dirty="0"/>
              <a:t>Customer role(S) are given online access to </a:t>
            </a:r>
            <a:r>
              <a:rPr lang="en-GB" b="1" dirty="0"/>
              <a:t>Content management dashboard</a:t>
            </a:r>
            <a:r>
              <a:rPr lang="en-GB" dirty="0"/>
              <a:t> to create playlists of apps. This determines what content to publish and when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45B5A5F-7DE7-468B-B407-AF5EDBF0E4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ONE Information</a:t>
            </a:r>
            <a:endParaRPr lang="en-FI" dirty="0">
              <a:cs typeface="Arial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DD77FB-DC63-44FD-AEAD-85EA51DE0D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5918" y="1895429"/>
            <a:ext cx="6032419" cy="45138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4CF72F60-163F-4B40-9CFC-69838B3C16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83551" y="2695440"/>
            <a:ext cx="5109681" cy="286003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9CD224D-9EF7-4B72-B584-BC319B13E0E0}"/>
              </a:ext>
            </a:extLst>
          </p:cNvPr>
          <p:cNvSpPr txBox="1"/>
          <p:nvPr/>
        </p:nvSpPr>
        <p:spPr>
          <a:xfrm>
            <a:off x="1605282" y="1556797"/>
            <a:ext cx="3988132" cy="338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i-FI" sz="1600" b="1" dirty="0">
                <a:solidFill>
                  <a:schemeClr val="tx2"/>
                </a:solidFill>
              </a:rPr>
              <a:t>Content Management Dashboard</a:t>
            </a:r>
            <a:endParaRPr lang="en-FI" sz="1600" b="1" dirty="0">
              <a:solidFill>
                <a:schemeClr val="tx2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40741D9-E01A-44FB-8A10-2FF85E1E09F3}"/>
              </a:ext>
            </a:extLst>
          </p:cNvPr>
          <p:cNvSpPr txBox="1"/>
          <p:nvPr/>
        </p:nvSpPr>
        <p:spPr>
          <a:xfrm>
            <a:off x="8006204" y="2344390"/>
            <a:ext cx="3782300" cy="338632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r>
              <a:rPr lang="en-GB" sz="1600" b="1" dirty="0">
                <a:solidFill>
                  <a:schemeClr val="tx2"/>
                </a:solidFill>
                <a:latin typeface="Arial"/>
                <a:cs typeface="Arial"/>
              </a:rPr>
              <a:t>Example published content</a:t>
            </a: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EFD8223B-7559-4E80-8ED3-2F6A8E6D5348}"/>
              </a:ext>
            </a:extLst>
          </p:cNvPr>
          <p:cNvSpPr/>
          <p:nvPr/>
        </p:nvSpPr>
        <p:spPr>
          <a:xfrm rot="16200000">
            <a:off x="6122922" y="3726375"/>
            <a:ext cx="946516" cy="865587"/>
          </a:xfrm>
          <a:prstGeom prst="downArrow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</p:spTree>
    <p:extLst>
      <p:ext uri="{BB962C8B-B14F-4D97-AF65-F5344CB8AC3E}">
        <p14:creationId xmlns:p14="http://schemas.microsoft.com/office/powerpoint/2010/main" val="35210620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AEEE6A-F524-45F7-8B33-482A064B2D90}" type="datetime3">
              <a:rPr lang="en-US" smtClean="0"/>
              <a:t>11 June 2020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onfidential  |  © KONE Corporation</a:t>
            </a:r>
            <a:endParaRPr lang="en-US" dirty="0"/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FC64F-66B6-486E-8EFE-9FD96A66D16B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586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Gt5bUxTp5huND1xVesn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Ek180kQtqz2xdFPYHyZ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Ek180kQtqz2xdFPYHy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Gt5bUxTp5huND1xVes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wflifVfzxt3jHcAVHb_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i2c4K.q.WOI5e_asu4s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ONE 2016 widescreen">
  <a:themeElements>
    <a:clrScheme name="KONE 27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/>
        </a:defPPr>
      </a:lstStyle>
    </a:txDef>
  </a:objectDefaults>
  <a:extraClrSchemeLst>
    <a:extraClrScheme>
      <a:clrScheme name="KONE 1">
        <a:dk1>
          <a:srgbClr val="191919"/>
        </a:dk1>
        <a:lt1>
          <a:srgbClr val="FFFFFF"/>
        </a:lt1>
        <a:dk2>
          <a:srgbClr val="191919"/>
        </a:dk2>
        <a:lt2>
          <a:srgbClr val="C8C8B7"/>
        </a:lt2>
        <a:accent1>
          <a:srgbClr val="86C2E6"/>
        </a:accent1>
        <a:accent2>
          <a:srgbClr val="9D9D9D"/>
        </a:accent2>
        <a:accent3>
          <a:srgbClr val="FFFFFF"/>
        </a:accent3>
        <a:accent4>
          <a:srgbClr val="141414"/>
        </a:accent4>
        <a:accent5>
          <a:srgbClr val="C3DDF0"/>
        </a:accent5>
        <a:accent6>
          <a:srgbClr val="8E8E8E"/>
        </a:accent6>
        <a:hlink>
          <a:srgbClr val="0071B9"/>
        </a:hlink>
        <a:folHlink>
          <a:srgbClr val="F6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NE 2">
        <a:dk1>
          <a:srgbClr val="C8C8B7"/>
        </a:dk1>
        <a:lt1>
          <a:srgbClr val="FFFFFF"/>
        </a:lt1>
        <a:dk2>
          <a:srgbClr val="191919"/>
        </a:dk2>
        <a:lt2>
          <a:srgbClr val="FFFFFF"/>
        </a:lt2>
        <a:accent1>
          <a:srgbClr val="86C2E6"/>
        </a:accent1>
        <a:accent2>
          <a:srgbClr val="9D9D9D"/>
        </a:accent2>
        <a:accent3>
          <a:srgbClr val="ABABAB"/>
        </a:accent3>
        <a:accent4>
          <a:srgbClr val="DADADA"/>
        </a:accent4>
        <a:accent5>
          <a:srgbClr val="C3DDF0"/>
        </a:accent5>
        <a:accent6>
          <a:srgbClr val="8E8E8E"/>
        </a:accent6>
        <a:hlink>
          <a:srgbClr val="0071B9"/>
        </a:hlink>
        <a:folHlink>
          <a:srgbClr val="F6A8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KONE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official_template_example.potx" id="{651ACDA0-38D2-47BE-A6AB-63CA7872DE27}" vid="{E9DC515F-B54A-42F0-81B7-349F8F6800AA}"/>
    </a:ext>
  </a:extLst>
</a:theme>
</file>

<file path=ppt/theme/theme3.xml><?xml version="1.0" encoding="utf-8"?>
<a:theme xmlns:a="http://schemas.openxmlformats.org/drawingml/2006/main" name="4_KONE official template 2016">
  <a:themeElements>
    <a:clrScheme name="KONE corporation 22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 corporation 2016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KONE_template_sample images_layouts_Office_2016" id="{2575B808-E04C-4AF1-9BA2-E1C897CDF141}" vid="{99333A4F-2CF0-425A-A28B-7498FCFFF0EE}"/>
    </a:ext>
  </a:extLst>
</a:theme>
</file>

<file path=ppt/theme/theme4.xml><?xml version="1.0" encoding="utf-8"?>
<a:theme xmlns:a="http://schemas.openxmlformats.org/drawingml/2006/main" name="KONE 2016 widescreen">
  <a:themeElements>
    <a:clrScheme name="KONE 270416">
      <a:dk1>
        <a:srgbClr val="3B4245"/>
      </a:dk1>
      <a:lt1>
        <a:srgbClr val="FFFFFF"/>
      </a:lt1>
      <a:dk2>
        <a:srgbClr val="0071B9"/>
      </a:dk2>
      <a:lt2>
        <a:srgbClr val="8D9194"/>
      </a:lt2>
      <a:accent1>
        <a:srgbClr val="004987"/>
      </a:accent1>
      <a:accent2>
        <a:srgbClr val="58AB27"/>
      </a:accent2>
      <a:accent3>
        <a:srgbClr val="86C2E6"/>
      </a:accent3>
      <a:accent4>
        <a:srgbClr val="FFC627"/>
      </a:accent4>
      <a:accent5>
        <a:srgbClr val="C6D600"/>
      </a:accent5>
      <a:accent6>
        <a:srgbClr val="E51A92"/>
      </a:accent6>
      <a:hlink>
        <a:srgbClr val="0071B9"/>
      </a:hlink>
      <a:folHlink>
        <a:srgbClr val="004987"/>
      </a:folHlink>
    </a:clrScheme>
    <a:fontScheme name="KON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sz="1400" dirty="0" smtClean="0"/>
        </a:defPPr>
      </a:lstStyle>
    </a:txDef>
  </a:objectDefaults>
  <a:extraClrSchemeLst>
    <a:extraClrScheme>
      <a:clrScheme name="KONE 1">
        <a:dk1>
          <a:srgbClr val="191919"/>
        </a:dk1>
        <a:lt1>
          <a:srgbClr val="FFFFFF"/>
        </a:lt1>
        <a:dk2>
          <a:srgbClr val="191919"/>
        </a:dk2>
        <a:lt2>
          <a:srgbClr val="C8C8B7"/>
        </a:lt2>
        <a:accent1>
          <a:srgbClr val="86C2E6"/>
        </a:accent1>
        <a:accent2>
          <a:srgbClr val="9D9D9D"/>
        </a:accent2>
        <a:accent3>
          <a:srgbClr val="FFFFFF"/>
        </a:accent3>
        <a:accent4>
          <a:srgbClr val="141414"/>
        </a:accent4>
        <a:accent5>
          <a:srgbClr val="C3DDF0"/>
        </a:accent5>
        <a:accent6>
          <a:srgbClr val="8E8E8E"/>
        </a:accent6>
        <a:hlink>
          <a:srgbClr val="0071B9"/>
        </a:hlink>
        <a:folHlink>
          <a:srgbClr val="F6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ONE 2">
        <a:dk1>
          <a:srgbClr val="C8C8B7"/>
        </a:dk1>
        <a:lt1>
          <a:srgbClr val="FFFFFF"/>
        </a:lt1>
        <a:dk2>
          <a:srgbClr val="191919"/>
        </a:dk2>
        <a:lt2>
          <a:srgbClr val="FFFFFF"/>
        </a:lt2>
        <a:accent1>
          <a:srgbClr val="86C2E6"/>
        </a:accent1>
        <a:accent2>
          <a:srgbClr val="9D9D9D"/>
        </a:accent2>
        <a:accent3>
          <a:srgbClr val="ABABAB"/>
        </a:accent3>
        <a:accent4>
          <a:srgbClr val="DADADA"/>
        </a:accent4>
        <a:accent5>
          <a:srgbClr val="C3DDF0"/>
        </a:accent5>
        <a:accent6>
          <a:srgbClr val="8E8E8E"/>
        </a:accent6>
        <a:hlink>
          <a:srgbClr val="0071B9"/>
        </a:hlink>
        <a:folHlink>
          <a:srgbClr val="F6A8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KONE Corporation">
      <a:dk1>
        <a:srgbClr val="191919"/>
      </a:dk1>
      <a:lt1>
        <a:srgbClr val="FFFFFF"/>
      </a:lt1>
      <a:dk2>
        <a:srgbClr val="0071B9"/>
      </a:dk2>
      <a:lt2>
        <a:srgbClr val="E08900"/>
      </a:lt2>
      <a:accent1>
        <a:srgbClr val="86C2E6"/>
      </a:accent1>
      <a:accent2>
        <a:srgbClr val="9D9D9D"/>
      </a:accent2>
      <a:accent3>
        <a:srgbClr val="8CAEC1"/>
      </a:accent3>
      <a:accent4>
        <a:srgbClr val="F6A800"/>
      </a:accent4>
      <a:accent5>
        <a:srgbClr val="58AB27"/>
      </a:accent5>
      <a:accent6>
        <a:srgbClr val="97BE0D"/>
      </a:accent6>
      <a:hlink>
        <a:srgbClr val="0071B9"/>
      </a:hlink>
      <a:folHlink>
        <a:srgbClr val="8CAEC1"/>
      </a:folHlink>
    </a:clrScheme>
    <a:fontScheme name="Basic (Arial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KONE Corporation">
      <a:dk1>
        <a:srgbClr val="191919"/>
      </a:dk1>
      <a:lt1>
        <a:srgbClr val="FFFFFF"/>
      </a:lt1>
      <a:dk2>
        <a:srgbClr val="0071B9"/>
      </a:dk2>
      <a:lt2>
        <a:srgbClr val="E08900"/>
      </a:lt2>
      <a:accent1>
        <a:srgbClr val="86C2E6"/>
      </a:accent1>
      <a:accent2>
        <a:srgbClr val="9D9D9D"/>
      </a:accent2>
      <a:accent3>
        <a:srgbClr val="8CAEC1"/>
      </a:accent3>
      <a:accent4>
        <a:srgbClr val="F6A800"/>
      </a:accent4>
      <a:accent5>
        <a:srgbClr val="58AB27"/>
      </a:accent5>
      <a:accent6>
        <a:srgbClr val="97BE0D"/>
      </a:accent6>
      <a:hlink>
        <a:srgbClr val="0071B9"/>
      </a:hlink>
      <a:folHlink>
        <a:srgbClr val="8CAEC1"/>
      </a:folHlink>
    </a:clrScheme>
    <a:fontScheme name="Basic (Arial)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149E5C2D2DB5849B396050C1D28526B" ma:contentTypeVersion="15" ma:contentTypeDescription="Create a new document." ma:contentTypeScope="" ma:versionID="441539df5ca122dabb331b86b0da164b">
  <xsd:schema xmlns:xsd="http://www.w3.org/2001/XMLSchema" xmlns:xs="http://www.w3.org/2001/XMLSchema" xmlns:p="http://schemas.microsoft.com/office/2006/metadata/properties" xmlns:ns1="http://schemas.microsoft.com/sharepoint/v3" xmlns:ns3="db0f4080-d140-4d47-9149-70a13af52aa7" xmlns:ns4="27e9eb22-04f6-4b5f-9679-9a5a9dc86587" targetNamespace="http://schemas.microsoft.com/office/2006/metadata/properties" ma:root="true" ma:fieldsID="e6b4fbb041140372155a1f3e86731d36" ns1:_="" ns3:_="" ns4:_="">
    <xsd:import namespace="http://schemas.microsoft.com/sharepoint/v3"/>
    <xsd:import namespace="db0f4080-d140-4d47-9149-70a13af52aa7"/>
    <xsd:import namespace="27e9eb22-04f6-4b5f-9679-9a5a9dc8658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1:_ip_UnifiedCompliancePolicyProperties" minOccurs="0"/>
                <xsd:element ref="ns1:_ip_UnifiedCompliancePolicyUIAction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b0f4080-d140-4d47-9149-70a13af52aa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e9eb22-04f6-4b5f-9679-9a5a9dc865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db0f4080-d140-4d47-9149-70a13af52aa7">
      <UserInfo>
        <DisplayName>Warnsmann Sebastian</DisplayName>
        <AccountId>22</AccountId>
        <AccountType/>
      </UserInfo>
      <UserInfo>
        <DisplayName>Hakonen Sanna</DisplayName>
        <AccountId>7</AccountId>
        <AccountType/>
      </UserInfo>
      <UserInfo>
        <DisplayName>Raitisto Antti-Pekka</DisplayName>
        <AccountId>17</AccountId>
        <AccountType/>
      </UserInfo>
      <UserInfo>
        <DisplayName>Bonfiglio Paolo</DisplayName>
        <AccountId>25</AccountId>
        <AccountType/>
      </UserInfo>
      <UserInfo>
        <DisplayName>Kloppmann Jonas</DisplayName>
        <AccountId>26</AccountId>
        <AccountType/>
      </UserInfo>
      <UserInfo>
        <DisplayName>Bechir Hellal</DisplayName>
        <AccountId>27</AccountId>
        <AccountType/>
      </UserInfo>
      <UserInfo>
        <DisplayName>Manzur Fjader AnaMaria</DisplayName>
        <AccountId>12</AccountId>
        <AccountType/>
      </UserInfo>
      <UserInfo>
        <DisplayName>Burke John KIR</DisplayName>
        <AccountId>28</AccountId>
        <AccountType/>
      </UserInfo>
      <UserInfo>
        <DisplayName>Korkiakangas Teijo</DisplayName>
        <AccountId>29</AccountId>
        <AccountType/>
      </UserInfo>
      <UserInfo>
        <DisplayName>Santos Adalgisa</DisplayName>
        <AccountId>30</AccountId>
        <AccountType/>
      </UserInfo>
    </SharedWithUsers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0F78EEAA-1C36-4817-9FF4-4E95321029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b0f4080-d140-4d47-9149-70a13af52aa7"/>
    <ds:schemaRef ds:uri="27e9eb22-04f6-4b5f-9679-9a5a9dc865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ED335A65-0C22-4B83-BF0F-FB59DFFBB23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EC07A4B-02C1-4E4E-927E-C6E10DD68AC6}">
  <ds:schemaRefs>
    <ds:schemaRef ds:uri="http://schemas.microsoft.com/office/2006/metadata/properties"/>
    <ds:schemaRef ds:uri="http://schemas.microsoft.com/office/infopath/2007/PartnerControls"/>
    <ds:schemaRef ds:uri="db0f4080-d140-4d47-9149-70a13af52aa7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</TotalTime>
  <Words>595</Words>
  <Application>Microsoft Macintosh PowerPoint</Application>
  <PresentationFormat>Custom</PresentationFormat>
  <Paragraphs>105</Paragraphs>
  <Slides>8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5" baseType="lpstr">
      <vt:lpstr>Arial</vt:lpstr>
      <vt:lpstr>Wingdings</vt:lpstr>
      <vt:lpstr>KONE 2016 widescreen</vt:lpstr>
      <vt:lpstr>KONE</vt:lpstr>
      <vt:lpstr>4_KONE official template 2016</vt:lpstr>
      <vt:lpstr>KONE 2016 widescreen</vt:lpstr>
      <vt:lpstr>think-cell Slide</vt:lpstr>
      <vt:lpstr>Redefining building communication with KONE Information </vt:lpstr>
      <vt:lpstr>KONE Information </vt:lpstr>
      <vt:lpstr>KONE Information</vt:lpstr>
      <vt:lpstr>KONE Information </vt:lpstr>
      <vt:lpstr>PowerPoint Presentation</vt:lpstr>
      <vt:lpstr>KONE Information </vt:lpstr>
      <vt:lpstr>KONE Information</vt:lpstr>
      <vt:lpstr>PowerPoint Presentation</vt:lpstr>
    </vt:vector>
  </TitlesOfParts>
  <Company>grow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E Corporation</dc:title>
  <dc:subject>PowerPoint Template, widescreen</dc:subject>
  <dc:creator>mika kontio / grow.</dc:creator>
  <dc:description>for office 2010</dc:description>
  <cp:lastModifiedBy>Timo Utterström</cp:lastModifiedBy>
  <cp:revision>568</cp:revision>
  <cp:lastPrinted>2016-02-11T13:13:06Z</cp:lastPrinted>
  <dcterms:created xsi:type="dcterms:W3CDTF">2008-02-14T11:04:08Z</dcterms:created>
  <dcterms:modified xsi:type="dcterms:W3CDTF">2020-06-11T15:0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149E5C2D2DB5849B396050C1D28526B</vt:lpwstr>
  </property>
</Properties>
</file>